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8.xml" ContentType="application/vnd.openxmlformats-officedocument.presentationml.slideLayout+xml"/>
  <Override PartName="/ppt/theme/theme3.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6" r:id="rId2"/>
    <p:sldMasterId id="2147483946" r:id="rId3"/>
  </p:sldMasterIdLst>
  <p:notesMasterIdLst>
    <p:notesMasterId r:id="rId5"/>
  </p:notesMasterIdLst>
  <p:handoutMasterIdLst>
    <p:handoutMasterId r:id="rId6"/>
  </p:handoutMasterIdLst>
  <p:sldIdLst>
    <p:sldId id="503" r:id="rId4"/>
  </p:sldIdLst>
  <p:sldSz cx="9144000" cy="6858000" type="screen4x3"/>
  <p:notesSz cx="6797675" cy="9874250"/>
  <p:custDataLst>
    <p:tags r:id="rId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48" userDrawn="1">
          <p15:clr>
            <a:srgbClr val="A4A3A4"/>
          </p15:clr>
        </p15:guide>
        <p15:guide id="2" orient="horz" pos="942" userDrawn="1">
          <p15:clr>
            <a:srgbClr val="A4A3A4"/>
          </p15:clr>
        </p15:guide>
        <p15:guide id="3" orient="horz" pos="1062" userDrawn="1">
          <p15:clr>
            <a:srgbClr val="A4A3A4"/>
          </p15:clr>
        </p15:guide>
        <p15:guide id="4" orient="horz" pos="3620" userDrawn="1">
          <p15:clr>
            <a:srgbClr val="A4A3A4"/>
          </p15:clr>
        </p15:guide>
        <p15:guide id="5" orient="horz" pos="2365" userDrawn="1">
          <p15:clr>
            <a:srgbClr val="A4A3A4"/>
          </p15:clr>
        </p15:guide>
        <p15:guide id="6" pos="2880" userDrawn="1">
          <p15:clr>
            <a:srgbClr val="A4A3A4"/>
          </p15:clr>
        </p15:guide>
        <p15:guide id="7" pos="5592" userDrawn="1">
          <p15:clr>
            <a:srgbClr val="A4A3A4"/>
          </p15:clr>
        </p15:guide>
        <p15:guide id="8" pos="2808" userDrawn="1">
          <p15:clr>
            <a:srgbClr val="A4A3A4"/>
          </p15:clr>
        </p15:guide>
        <p15:guide id="9" pos="2952" userDrawn="1">
          <p15:clr>
            <a:srgbClr val="A4A3A4"/>
          </p15:clr>
        </p15:guide>
        <p15:guide id="10" pos="168" userDrawn="1">
          <p15:clr>
            <a:srgbClr val="A4A3A4"/>
          </p15:clr>
        </p15:guide>
        <p15:guide id="11" pos="383" userDrawn="1">
          <p15:clr>
            <a:srgbClr val="A4A3A4"/>
          </p15:clr>
        </p15:guide>
        <p15:guide id="12" pos="5380" userDrawn="1">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FFFF"/>
    <a:srgbClr val="FFBC1D"/>
    <a:srgbClr val="D03833"/>
    <a:srgbClr val="805924"/>
    <a:srgbClr val="726334"/>
    <a:srgbClr val="3A579F"/>
    <a:srgbClr val="0365AC"/>
    <a:srgbClr val="E4321E"/>
    <a:srgbClr val="0046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00" autoAdjust="0"/>
    <p:restoredTop sz="94434" autoAdjust="0"/>
  </p:normalViewPr>
  <p:slideViewPr>
    <p:cSldViewPr snapToGrid="0" snapToObjects="1">
      <p:cViewPr varScale="1">
        <p:scale>
          <a:sx n="81" d="100"/>
          <a:sy n="81" d="100"/>
        </p:scale>
        <p:origin x="1212" y="90"/>
      </p:cViewPr>
      <p:guideLst>
        <p:guide orient="horz" pos="3948"/>
        <p:guide orient="horz" pos="942"/>
        <p:guide orient="horz" pos="1062"/>
        <p:guide orient="horz" pos="3620"/>
        <p:guide orient="horz" pos="2365"/>
        <p:guide pos="2880"/>
        <p:guide pos="5592"/>
        <p:guide pos="2808"/>
        <p:guide pos="2952"/>
        <p:guide pos="168"/>
        <p:guide pos="383"/>
        <p:guide pos="53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46" d="100"/>
          <a:sy n="46" d="100"/>
        </p:scale>
        <p:origin x="-2988" y="-114"/>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tags" Target="tags/tag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4501589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7/6/2016</a:t>
            </a:fld>
            <a:endParaRPr lang="en-US" dirty="0"/>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226779587"/>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2.pn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0.png"/><Relationship Id="rId2" Type="http://schemas.openxmlformats.org/officeDocument/2006/relationships/tags" Target="../tags/tag3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0.png"/><Relationship Id="rId2" Type="http://schemas.openxmlformats.org/officeDocument/2006/relationships/tags" Target="../tags/tag4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3.jpeg"/><Relationship Id="rId4"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7" descr="D:\My Work\ODS\TEMPLATES\Business Cloud\12-08\Cover1.jpg"/>
          <p:cNvPicPr>
            <a:picLocks noChangeAspect="1" noChangeArrowheads="1"/>
          </p:cNvPicPr>
          <p:nvPr userDrawn="1"/>
        </p:nvPicPr>
        <p:blipFill>
          <a:blip r:embed="rId10" cstate="print"/>
          <a:stretch>
            <a:fillRect/>
          </a:stretch>
        </p:blipFill>
        <p:spPr bwMode="auto">
          <a:xfrm>
            <a:off x="0" y="523702"/>
            <a:ext cx="9144000" cy="6334298"/>
          </a:xfrm>
          <a:prstGeom prst="rect">
            <a:avLst/>
          </a:prstGeom>
          <a:noFill/>
          <a:ln>
            <a:noFill/>
          </a:ln>
        </p:spPr>
      </p:pic>
      <p:sp>
        <p:nvSpPr>
          <p:cNvPr id="10" name="Rectangle 7"/>
          <p:cNvSpPr>
            <a:spLocks noChangeAspect="1"/>
          </p:cNvSpPr>
          <p:nvPr userDrawn="1">
            <p:custDataLst>
              <p:tags r:id="rId2"/>
            </p:custDataLst>
          </p:nvPr>
        </p:nvSpPr>
        <p:spPr bwMode="auto">
          <a:xfrm>
            <a:off x="-2052" y="1"/>
            <a:ext cx="9144000" cy="247601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schemeClr val="tx1">
                <a:lumMod val="75000"/>
                <a:lumOff val="25000"/>
                <a:alpha val="40000"/>
              </a:schemeClr>
            </a:outerShdw>
          </a:effectLst>
        </p:spPr>
        <p:txBody>
          <a:bodyPr wrap="square" lIns="33059" tIns="42976" rIns="33059" bIns="42976" rtlCol="0" anchor="ctr"/>
          <a:lstStyle/>
          <a:p>
            <a:pPr marL="0" algn="ctr" defTabSz="957732"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1"/>
          <a:ext cx="146539" cy="158750"/>
        </p:xfrm>
        <a:graphic>
          <a:graphicData uri="http://schemas.openxmlformats.org/presentationml/2006/ole">
            <mc:AlternateContent xmlns:mc="http://schemas.openxmlformats.org/markup-compatibility/2006">
              <mc:Choice xmlns:v="urn:schemas-microsoft-com:vml" Requires="v">
                <p:oleObj spid="_x0000_s141380" name="think-cell Slide" r:id="rId11" imgW="360" imgH="360" progId="">
                  <p:embed/>
                </p:oleObj>
              </mc:Choice>
              <mc:Fallback>
                <p:oleObj name="think-cell Slide" r:id="rId11" imgW="360" imgH="360" progId="">
                  <p:embed/>
                  <p:pic>
                    <p:nvPicPr>
                      <p:cNvPr id="0" name="Object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1"/>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custDataLst>
              <p:tags r:id="rId4"/>
            </p:custDataLst>
          </p:nvPr>
        </p:nvSpPr>
        <p:spPr>
          <a:xfrm>
            <a:off x="615461" y="4480084"/>
            <a:ext cx="5483499" cy="1188720"/>
          </a:xfrm>
          <a:effectLst>
            <a:outerShdw blurRad="12700" dist="12700" dir="2700000" sx="133000" sy="133000" algn="tl" rotWithShape="0">
              <a:schemeClr val="bg1">
                <a:alpha val="80000"/>
              </a:schemeClr>
            </a:outerShdw>
          </a:effectLst>
        </p:spPr>
        <p:txBody>
          <a:bodyPr vert="horz" lIns="0" tIns="33059" rIns="33059" bIns="33059" rtlCol="0" anchor="ctr">
            <a:noAutofit/>
          </a:bodyPr>
          <a:lstStyle>
            <a:lvl1pPr algn="l" defTabSz="914320" rtl="0" eaLnBrk="1" latinLnBrk="0" hangingPunct="1">
              <a:lnSpc>
                <a:spcPct val="100000"/>
              </a:lnSpc>
              <a:spcBef>
                <a:spcPct val="0"/>
              </a:spcBef>
              <a:buNone/>
              <a:defRPr lang="en-US" sz="3300" b="0" kern="1200" dirty="0">
                <a:solidFill>
                  <a:schemeClr val="bg1"/>
                </a:solidFill>
                <a:effectLst/>
                <a:latin typeface="+mj-lt"/>
                <a:ea typeface="+mj-ea"/>
                <a:cs typeface="+mj-cs"/>
              </a:defRPr>
            </a:lvl1pPr>
          </a:lstStyle>
          <a:p>
            <a:r>
              <a:rPr lang="en-US" smtClean="0"/>
              <a:t>Click to edit Master title style</a:t>
            </a:r>
            <a:endParaRPr lang="en-US" dirty="0"/>
          </a:p>
        </p:txBody>
      </p:sp>
      <p:sp>
        <p:nvSpPr>
          <p:cNvPr id="3" name="Subtitle 2"/>
          <p:cNvSpPr>
            <a:spLocks noGrp="1"/>
          </p:cNvSpPr>
          <p:nvPr>
            <p:ph type="subTitle" idx="1" hasCustomPrompt="1"/>
            <p:custDataLst>
              <p:tags r:id="rId5"/>
            </p:custDataLst>
          </p:nvPr>
        </p:nvSpPr>
        <p:spPr>
          <a:xfrm>
            <a:off x="615463" y="5681713"/>
            <a:ext cx="5117123" cy="674517"/>
          </a:xfrm>
          <a:effectLst>
            <a:outerShdw blurRad="12700" dist="12700" dir="2700000" sx="133000" sy="133000" algn="tl" rotWithShape="0">
              <a:schemeClr val="bg1">
                <a:alpha val="80000"/>
              </a:schemeClr>
            </a:outerShdw>
          </a:effectLst>
        </p:spPr>
        <p:txBody>
          <a:bodyPr vert="horz" lIns="0" tIns="33059" rIns="33059" bIns="33059" rtlCol="0" anchor="ctr">
            <a:noAutofit/>
          </a:bodyPr>
          <a:lstStyle>
            <a:lvl1pPr marL="0" indent="0" algn="l" defTabSz="914320" rtl="0" eaLnBrk="1" latinLnBrk="0" hangingPunct="1">
              <a:lnSpc>
                <a:spcPct val="100000"/>
              </a:lnSpc>
              <a:spcBef>
                <a:spcPts val="0"/>
              </a:spcBef>
              <a:spcAft>
                <a:spcPts val="600"/>
              </a:spcAft>
              <a:buClr>
                <a:schemeClr val="accent3"/>
              </a:buClr>
              <a:buFont typeface="Wingdings" pitchFamily="2" charset="2"/>
              <a:buNone/>
              <a:defRPr lang="fr-FR" sz="2200" b="0" kern="1200" dirty="0" smtClean="0">
                <a:solidFill>
                  <a:schemeClr val="bg1"/>
                </a:solidFill>
                <a:effectLst/>
                <a:latin typeface="+mn-lt"/>
                <a:ea typeface="+mn-ea"/>
                <a:cs typeface="+mn-cs"/>
              </a:defRPr>
            </a:lvl1pPr>
            <a:lvl2pPr marL="457159" indent="0" algn="ctr">
              <a:buNone/>
              <a:defRPr>
                <a:solidFill>
                  <a:schemeClr val="tx1">
                    <a:tint val="75000"/>
                  </a:schemeClr>
                </a:solidFill>
              </a:defRPr>
            </a:lvl2pPr>
            <a:lvl3pPr marL="914320" indent="0" algn="ctr">
              <a:buNone/>
              <a:defRPr>
                <a:solidFill>
                  <a:schemeClr val="tx1">
                    <a:tint val="75000"/>
                  </a:schemeClr>
                </a:solidFill>
              </a:defRPr>
            </a:lvl3pPr>
            <a:lvl4pPr marL="1371479" indent="0" algn="ctr">
              <a:buNone/>
              <a:defRPr>
                <a:solidFill>
                  <a:schemeClr val="tx1">
                    <a:tint val="75000"/>
                  </a:schemeClr>
                </a:solidFill>
              </a:defRPr>
            </a:lvl4pPr>
            <a:lvl5pPr marL="1828638" indent="0" algn="ctr">
              <a:buNone/>
              <a:defRPr>
                <a:solidFill>
                  <a:schemeClr val="tx1">
                    <a:tint val="75000"/>
                  </a:schemeClr>
                </a:solidFill>
              </a:defRPr>
            </a:lvl5pPr>
            <a:lvl6pPr marL="2285798" indent="0" algn="ctr">
              <a:buNone/>
              <a:defRPr>
                <a:solidFill>
                  <a:schemeClr val="tx1">
                    <a:tint val="75000"/>
                  </a:schemeClr>
                </a:solidFill>
              </a:defRPr>
            </a:lvl6pPr>
            <a:lvl7pPr marL="2742958" indent="0" algn="ctr">
              <a:buNone/>
              <a:defRPr>
                <a:solidFill>
                  <a:schemeClr val="tx1">
                    <a:tint val="75000"/>
                  </a:schemeClr>
                </a:solidFill>
              </a:defRPr>
            </a:lvl7pPr>
            <a:lvl8pPr marL="3200119" indent="0" algn="ctr">
              <a:buNone/>
              <a:defRPr>
                <a:solidFill>
                  <a:schemeClr val="tx1">
                    <a:tint val="75000"/>
                  </a:schemeClr>
                </a:solidFill>
              </a:defRPr>
            </a:lvl8pPr>
            <a:lvl9pPr marL="3657278"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5" name="Picture 103" descr="C:\Users\UserSim\Desktop\Capgemini\Capgemini_logo_cmyk.png"/>
          <p:cNvPicPr>
            <a:picLocks noChangeAspect="1" noChangeArrowheads="1"/>
          </p:cNvPicPr>
          <p:nvPr userDrawn="1">
            <p:custDataLst>
              <p:tags r:id="rId6"/>
            </p:custDataLst>
          </p:nvPr>
        </p:nvPicPr>
        <p:blipFill>
          <a:blip r:embed="rId13" cstate="email"/>
          <a:stretch>
            <a:fillRect/>
          </a:stretch>
        </p:blipFill>
        <p:spPr bwMode="auto">
          <a:xfrm>
            <a:off x="603739" y="622669"/>
            <a:ext cx="2377440" cy="559400"/>
          </a:xfrm>
          <a:prstGeom prst="rect">
            <a:avLst/>
          </a:prstGeom>
          <a:noFill/>
          <a:ln>
            <a:noFill/>
          </a:ln>
        </p:spPr>
      </p:pic>
      <p:sp>
        <p:nvSpPr>
          <p:cNvPr id="12" name="Rectangle 11"/>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3" name="Picture 104" descr="C:\Users\UserSim\Desktop\Capgemini\moto.emf"/>
          <p:cNvPicPr>
            <a:picLocks noChangeAspect="1" noChangeArrowheads="1"/>
          </p:cNvPicPr>
          <p:nvPr userDrawn="1">
            <p:custDataLst>
              <p:tags r:id="rId8"/>
            </p:custDataLst>
          </p:nvPr>
        </p:nvPicPr>
        <p:blipFill>
          <a:blip r:embed="rId14" cstate="email"/>
          <a:stretch>
            <a:fillRect/>
          </a:stretch>
        </p:blipFill>
        <p:spPr bwMode="auto">
          <a:xfrm>
            <a:off x="6163311" y="6511452"/>
            <a:ext cx="2377440" cy="197372"/>
          </a:xfrm>
          <a:prstGeom prst="rect">
            <a:avLst/>
          </a:prstGeom>
          <a:noFill/>
          <a:ln>
            <a:noFill/>
          </a:ln>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
          <a:ext cx="135749" cy="143985"/>
        </p:xfrm>
        <a:graphic>
          <a:graphicData uri="http://schemas.openxmlformats.org/presentationml/2006/ole">
            <mc:AlternateContent xmlns:mc="http://schemas.openxmlformats.org/markup-compatibility/2006">
              <mc:Choice xmlns:v="urn:schemas-microsoft-com:vml" Requires="v">
                <p:oleObj spid="_x0000_s118852"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66700" y="1495426"/>
            <a:ext cx="8610600" cy="4772025"/>
          </a:xfrm>
        </p:spPr>
        <p:txBody>
          <a:bodyPr/>
          <a:lstStyle>
            <a:lvl1pPr>
              <a:defRPr b="0"/>
            </a:lvl1pPr>
            <a:lvl2pPr marL="457189" indent="-228594">
              <a:defRPr/>
            </a:lvl2pPr>
            <a:lvl3pPr marL="685783" indent="-228594">
              <a:defRPr/>
            </a:lvl3pPr>
            <a:lvl4pPr>
              <a:defRPr/>
            </a:lvl4pPr>
            <a:lvl5pPr>
              <a:buNone/>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
          <a:ext cx="135749" cy="143985"/>
        </p:xfrm>
        <a:graphic>
          <a:graphicData uri="http://schemas.openxmlformats.org/presentationml/2006/ole">
            <mc:AlternateContent xmlns:mc="http://schemas.openxmlformats.org/markup-compatibility/2006">
              <mc:Choice xmlns:v="urn:schemas-microsoft-com:vml" Requires="v">
                <p:oleObj spid="_x0000_s119876"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4"/>
            </p:custDataLst>
          </p:nvPr>
        </p:nvSpPr>
        <p:spPr>
          <a:xfrm>
            <a:off x="266700" y="2044932"/>
            <a:ext cx="8610600" cy="4222519"/>
          </a:xfrm>
        </p:spPr>
        <p:txBody>
          <a:bodyPr/>
          <a:lstStyle>
            <a:lvl1pPr>
              <a:defRPr b="0"/>
            </a:lvl1pPr>
            <a:lvl2pPr marL="457189" indent="-223833">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5"/>
            </p:custDataLst>
          </p:nvPr>
        </p:nvSpPr>
        <p:spPr>
          <a:xfrm>
            <a:off x="266700" y="1495425"/>
            <a:ext cx="8610600" cy="548640"/>
          </a:xfrm>
        </p:spPr>
        <p:txBody>
          <a:bodyPr/>
          <a:lstStyle>
            <a:lvl1pPr marL="0" indent="0">
              <a:buNone/>
              <a:defRPr sz="2000" b="1">
                <a:solidFill>
                  <a:schemeClr val="accent3"/>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46539" cy="158750"/>
        </p:xfrm>
        <a:graphic>
          <a:graphicData uri="http://schemas.openxmlformats.org/presentationml/2006/ole">
            <mc:AlternateContent xmlns:mc="http://schemas.openxmlformats.org/markup-compatibility/2006">
              <mc:Choice xmlns:v="urn:schemas-microsoft-com:vml" Requires="v">
                <p:oleObj spid="_x0000_s121923"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2"/>
          <a:ext cx="135749" cy="143985"/>
        </p:xfrm>
        <a:graphic>
          <a:graphicData uri="http://schemas.openxmlformats.org/presentationml/2006/ole">
            <mc:AlternateContent xmlns:mc="http://schemas.openxmlformats.org/markup-compatibility/2006">
              <mc:Choice xmlns:v="urn:schemas-microsoft-com:vml" Requires="v">
                <p:oleObj spid="_x0000_s262212"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21" name="Group 120"/>
          <p:cNvGrpSpPr/>
          <p:nvPr userDrawn="1"/>
        </p:nvGrpSpPr>
        <p:grpSpPr>
          <a:xfrm>
            <a:off x="779493" y="3251728"/>
            <a:ext cx="4118163" cy="2306864"/>
            <a:chOff x="779494" y="3540483"/>
            <a:chExt cx="4118162" cy="2306864"/>
          </a:xfrm>
        </p:grpSpPr>
        <p:sp>
          <p:nvSpPr>
            <p:cNvPr id="61" name="Rectangle 9"/>
            <p:cNvSpPr>
              <a:spLocks noChangeArrowheads="1"/>
            </p:cNvSpPr>
            <p:nvPr userDrawn="1">
              <p:custDataLst>
                <p:tags r:id="rId3"/>
              </p:custDataLst>
            </p:nvPr>
          </p:nvSpPr>
          <p:spPr bwMode="gray">
            <a:xfrm>
              <a:off x="1029732" y="3689339"/>
              <a:ext cx="3867924" cy="215800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solidFill>
                <a:schemeClr val="accent5">
                  <a:lumMod val="40000"/>
                  <a:lumOff val="60000"/>
                </a:schemeClr>
              </a:solidFill>
              <a:prstDash val="solid"/>
              <a:round/>
            </a:ln>
            <a:effectLst/>
          </p:spPr>
          <p:txBody>
            <a:bodyPr wrap="square" lIns="360000" tIns="50951" rIns="216000" bIns="144000" rtlCol="0" anchor="b"/>
            <a:lstStyle/>
            <a:p>
              <a:pPr marL="0" marR="0" indent="0" algn="just" defTabSz="1042941" rtl="0" eaLnBrk="1" fontAlgn="auto" latinLnBrk="0" hangingPunct="1">
                <a:lnSpc>
                  <a:spcPct val="100000"/>
                </a:lnSpc>
                <a:spcBef>
                  <a:spcPts val="0"/>
                </a:spcBef>
                <a:spcAft>
                  <a:spcPts val="600"/>
                </a:spcAft>
                <a:buClrTx/>
                <a:buSzTx/>
                <a:buFontTx/>
                <a:buNone/>
                <a:tabLst/>
                <a:defRPr/>
              </a:pPr>
              <a:r>
                <a:rPr lang="en-US" sz="16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892780" rtl="0" eaLnBrk="1" fontAlgn="auto" latinLnBrk="0" hangingPunct="1">
                <a:lnSpc>
                  <a:spcPct val="100000"/>
                </a:lnSpc>
                <a:spcBef>
                  <a:spcPts val="600"/>
                </a:spcBef>
                <a:spcAft>
                  <a:spcPts val="0"/>
                </a:spcAft>
                <a:buClrTx/>
                <a:buSzTx/>
                <a:buFontTx/>
                <a:buNone/>
                <a:tabLst/>
                <a:defRPr/>
              </a:pPr>
              <a:r>
                <a:rPr lang="en-US" sz="9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9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900" u="sng" dirty="0" smtClean="0">
                  <a:solidFill>
                    <a:schemeClr val="bg1"/>
                  </a:solidFill>
                  <a:latin typeface="Arial" pitchFamily="34" charset="0"/>
                  <a:cs typeface="Arial" pitchFamily="34" charset="0"/>
                </a:rPr>
                <a:t>the Collaborative Business Experience™</a:t>
              </a:r>
              <a:r>
                <a:rPr lang="en-US" sz="900" dirty="0" smtClean="0">
                  <a:solidFill>
                    <a:schemeClr val="bg1"/>
                  </a:solidFill>
                  <a:latin typeface="Arial" pitchFamily="34" charset="0"/>
                  <a:cs typeface="Arial" pitchFamily="34" charset="0"/>
                </a:rPr>
                <a:t>, and draws on </a:t>
              </a:r>
              <a:r>
                <a:rPr lang="en-US" sz="900" u="sng" dirty="0" smtClean="0">
                  <a:solidFill>
                    <a:schemeClr val="bg1"/>
                  </a:solidFill>
                  <a:latin typeface="Arial" pitchFamily="34" charset="0"/>
                  <a:cs typeface="Arial" pitchFamily="34" charset="0"/>
                </a:rPr>
                <a:t>Rightshore</a:t>
              </a:r>
              <a:r>
                <a:rPr lang="en-US" sz="900" u="sng" baseline="30000" dirty="0" smtClean="0">
                  <a:solidFill>
                    <a:schemeClr val="bg1"/>
                  </a:solidFill>
                  <a:latin typeface="Arial" pitchFamily="34" charset="0"/>
                  <a:cs typeface="Arial" pitchFamily="34" charset="0"/>
                </a:rPr>
                <a:t>®</a:t>
              </a:r>
              <a:r>
                <a:rPr lang="en-US" sz="900" dirty="0" smtClean="0">
                  <a:solidFill>
                    <a:schemeClr val="bg1"/>
                  </a:solidFill>
                  <a:latin typeface="Arial" pitchFamily="34" charset="0"/>
                  <a:cs typeface="Arial" pitchFamily="34" charset="0"/>
                </a:rPr>
                <a:t>, its worldwide delivery model.</a:t>
              </a:r>
            </a:p>
            <a:p>
              <a:pPr marL="0" indent="0" algn="just">
                <a:spcBef>
                  <a:spcPts val="600"/>
                </a:spcBef>
              </a:pPr>
              <a:r>
                <a:rPr lang="en-US" sz="900" dirty="0" smtClean="0">
                  <a:solidFill>
                    <a:schemeClr val="bg1"/>
                  </a:solidFill>
                  <a:latin typeface="Arial" pitchFamily="34" charset="0"/>
                  <a:cs typeface="Arial" pitchFamily="34" charset="0"/>
                </a:rPr>
                <a:t>Learn more about us at </a:t>
              </a:r>
              <a:r>
                <a:rPr lang="en-US" sz="900" b="1" u="sng" dirty="0" smtClean="0">
                  <a:solidFill>
                    <a:schemeClr val="bg1"/>
                  </a:solidFill>
                  <a:latin typeface="Arial" pitchFamily="34" charset="0"/>
                  <a:cs typeface="Arial" pitchFamily="34" charset="0"/>
                </a:rPr>
                <a:t>www.capgemini.com</a:t>
              </a:r>
              <a:r>
                <a:rPr lang="en-US" sz="900" dirty="0" smtClean="0">
                  <a:solidFill>
                    <a:schemeClr val="bg1"/>
                  </a:solidFill>
                  <a:latin typeface="Arial" pitchFamily="34" charset="0"/>
                  <a:cs typeface="Arial" pitchFamily="34" charset="0"/>
                </a:rPr>
                <a:t>.</a:t>
              </a:r>
              <a:endParaRPr lang="en-US" sz="900" dirty="0">
                <a:solidFill>
                  <a:schemeClr val="bg1"/>
                </a:solidFill>
                <a:latin typeface="Arial" pitchFamily="34" charset="0"/>
                <a:cs typeface="Arial" pitchFamily="34" charset="0"/>
              </a:endParaRPr>
            </a:p>
          </p:txBody>
        </p:sp>
        <p:pic>
          <p:nvPicPr>
            <p:cNvPr id="62" name="Image 337" descr="CBE_Label_ppt.png"/>
            <p:cNvPicPr>
              <a:picLocks noChangeAspect="1"/>
            </p:cNvPicPr>
            <p:nvPr userDrawn="1"/>
          </p:nvPicPr>
          <p:blipFill>
            <a:blip r:embed="rId7" cstate="screen"/>
            <a:stretch>
              <a:fillRect/>
            </a:stretch>
          </p:blipFill>
          <p:spPr>
            <a:xfrm>
              <a:off x="779494" y="3540483"/>
              <a:ext cx="519572" cy="522508"/>
            </a:xfrm>
            <a:prstGeom prst="rect">
              <a:avLst/>
            </a:prstGeom>
          </p:spPr>
        </p:pic>
      </p:grpSp>
      <p:grpSp>
        <p:nvGrpSpPr>
          <p:cNvPr id="73" name="Group 72"/>
          <p:cNvGrpSpPr/>
          <p:nvPr userDrawn="1"/>
        </p:nvGrpSpPr>
        <p:grpSpPr>
          <a:xfrm>
            <a:off x="4939938" y="3666476"/>
            <a:ext cx="3537207" cy="1690115"/>
            <a:chOff x="5722380" y="3575705"/>
            <a:chExt cx="3820083" cy="1825276"/>
          </a:xfrm>
        </p:grpSpPr>
        <p:grpSp>
          <p:nvGrpSpPr>
            <p:cNvPr id="74" name="Groupe 73"/>
            <p:cNvGrpSpPr/>
            <p:nvPr/>
          </p:nvGrpSpPr>
          <p:grpSpPr>
            <a:xfrm>
              <a:off x="5722380" y="3575705"/>
              <a:ext cx="3820083" cy="1825276"/>
              <a:chOff x="431810" y="1759572"/>
              <a:chExt cx="8937133" cy="4270256"/>
            </a:xfrm>
          </p:grpSpPr>
          <p:sp>
            <p:nvSpPr>
              <p:cNvPr id="122" name="Freeform 5"/>
              <p:cNvSpPr>
                <a:spLocks/>
              </p:cNvSpPr>
              <p:nvPr/>
            </p:nvSpPr>
            <p:spPr bwMode="auto">
              <a:xfrm>
                <a:off x="2829893" y="1815609"/>
                <a:ext cx="1086250" cy="875029"/>
              </a:xfrm>
              <a:custGeom>
                <a:avLst/>
                <a:gdLst/>
                <a:ahLst/>
                <a:cxnLst>
                  <a:cxn ang="0">
                    <a:pos x="57" y="167"/>
                  </a:cxn>
                  <a:cxn ang="0">
                    <a:pos x="0" y="115"/>
                  </a:cxn>
                  <a:cxn ang="0">
                    <a:pos x="98" y="26"/>
                  </a:cxn>
                  <a:cxn ang="0">
                    <a:pos x="272" y="26"/>
                  </a:cxn>
                  <a:cxn ang="0">
                    <a:pos x="296" y="0"/>
                  </a:cxn>
                  <a:cxn ang="0">
                    <a:pos x="617" y="0"/>
                  </a:cxn>
                  <a:cxn ang="0">
                    <a:pos x="650" y="37"/>
                  </a:cxn>
                  <a:cxn ang="0">
                    <a:pos x="756" y="32"/>
                  </a:cxn>
                  <a:cxn ang="0">
                    <a:pos x="719" y="65"/>
                  </a:cxn>
                  <a:cxn ang="0">
                    <a:pos x="658" y="74"/>
                  </a:cxn>
                  <a:cxn ang="0">
                    <a:pos x="658" y="326"/>
                  </a:cxn>
                  <a:cxn ang="0">
                    <a:pos x="532" y="441"/>
                  </a:cxn>
                  <a:cxn ang="0">
                    <a:pos x="406" y="441"/>
                  </a:cxn>
                  <a:cxn ang="0">
                    <a:pos x="317" y="513"/>
                  </a:cxn>
                  <a:cxn ang="0">
                    <a:pos x="313" y="582"/>
                  </a:cxn>
                  <a:cxn ang="0">
                    <a:pos x="272" y="609"/>
                  </a:cxn>
                  <a:cxn ang="0">
                    <a:pos x="198" y="543"/>
                  </a:cxn>
                  <a:cxn ang="0">
                    <a:pos x="198" y="413"/>
                  </a:cxn>
                  <a:cxn ang="0">
                    <a:pos x="268" y="354"/>
                  </a:cxn>
                  <a:cxn ang="0">
                    <a:pos x="207" y="293"/>
                  </a:cxn>
                  <a:cxn ang="0">
                    <a:pos x="202" y="176"/>
                  </a:cxn>
                  <a:cxn ang="0">
                    <a:pos x="150" y="124"/>
                  </a:cxn>
                  <a:cxn ang="0">
                    <a:pos x="113" y="124"/>
                  </a:cxn>
                  <a:cxn ang="0">
                    <a:pos x="57" y="167"/>
                  </a:cxn>
                </a:cxnLst>
                <a:rect l="0" t="0" r="r" b="b"/>
                <a:pathLst>
                  <a:path w="756" h="609">
                    <a:moveTo>
                      <a:pt x="57" y="167"/>
                    </a:moveTo>
                    <a:lnTo>
                      <a:pt x="0" y="115"/>
                    </a:lnTo>
                    <a:lnTo>
                      <a:pt x="98" y="26"/>
                    </a:lnTo>
                    <a:lnTo>
                      <a:pt x="272" y="26"/>
                    </a:lnTo>
                    <a:lnTo>
                      <a:pt x="296" y="0"/>
                    </a:lnTo>
                    <a:lnTo>
                      <a:pt x="617" y="0"/>
                    </a:lnTo>
                    <a:lnTo>
                      <a:pt x="650" y="37"/>
                    </a:lnTo>
                    <a:lnTo>
                      <a:pt x="756" y="32"/>
                    </a:lnTo>
                    <a:lnTo>
                      <a:pt x="719" y="65"/>
                    </a:lnTo>
                    <a:lnTo>
                      <a:pt x="658" y="74"/>
                    </a:lnTo>
                    <a:lnTo>
                      <a:pt x="658" y="326"/>
                    </a:lnTo>
                    <a:lnTo>
                      <a:pt x="532" y="441"/>
                    </a:lnTo>
                    <a:lnTo>
                      <a:pt x="406" y="441"/>
                    </a:lnTo>
                    <a:lnTo>
                      <a:pt x="317" y="513"/>
                    </a:lnTo>
                    <a:lnTo>
                      <a:pt x="313" y="582"/>
                    </a:lnTo>
                    <a:lnTo>
                      <a:pt x="272" y="609"/>
                    </a:lnTo>
                    <a:lnTo>
                      <a:pt x="198" y="543"/>
                    </a:lnTo>
                    <a:lnTo>
                      <a:pt x="198" y="413"/>
                    </a:lnTo>
                    <a:lnTo>
                      <a:pt x="268" y="354"/>
                    </a:lnTo>
                    <a:lnTo>
                      <a:pt x="207" y="293"/>
                    </a:lnTo>
                    <a:lnTo>
                      <a:pt x="202" y="176"/>
                    </a:lnTo>
                    <a:lnTo>
                      <a:pt x="150" y="124"/>
                    </a:lnTo>
                    <a:lnTo>
                      <a:pt x="113" y="124"/>
                    </a:lnTo>
                    <a:lnTo>
                      <a:pt x="57" y="167"/>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23" name="Freeform 6"/>
              <p:cNvSpPr>
                <a:spLocks/>
              </p:cNvSpPr>
              <p:nvPr/>
            </p:nvSpPr>
            <p:spPr bwMode="auto">
              <a:xfrm>
                <a:off x="2462063" y="2102975"/>
                <a:ext cx="402315" cy="433922"/>
              </a:xfrm>
              <a:custGeom>
                <a:avLst/>
                <a:gdLst/>
                <a:ahLst/>
                <a:cxnLst>
                  <a:cxn ang="0">
                    <a:pos x="150" y="172"/>
                  </a:cxn>
                  <a:cxn ang="0">
                    <a:pos x="85" y="232"/>
                  </a:cxn>
                  <a:cxn ang="0">
                    <a:pos x="159" y="302"/>
                  </a:cxn>
                  <a:cxn ang="0">
                    <a:pos x="215" y="252"/>
                  </a:cxn>
                  <a:cxn ang="0">
                    <a:pos x="235" y="252"/>
                  </a:cxn>
                  <a:cxn ang="0">
                    <a:pos x="280" y="213"/>
                  </a:cxn>
                  <a:cxn ang="0">
                    <a:pos x="183" y="130"/>
                  </a:cxn>
                  <a:cxn ang="0">
                    <a:pos x="174" y="54"/>
                  </a:cxn>
                  <a:cxn ang="0">
                    <a:pos x="98" y="45"/>
                  </a:cxn>
                  <a:cxn ang="0">
                    <a:pos x="94" y="0"/>
                  </a:cxn>
                  <a:cxn ang="0">
                    <a:pos x="0" y="4"/>
                  </a:cxn>
                  <a:cxn ang="0">
                    <a:pos x="0" y="17"/>
                  </a:cxn>
                  <a:cxn ang="0">
                    <a:pos x="57" y="74"/>
                  </a:cxn>
                  <a:cxn ang="0">
                    <a:pos x="150" y="139"/>
                  </a:cxn>
                  <a:cxn ang="0">
                    <a:pos x="150" y="172"/>
                  </a:cxn>
                </a:cxnLst>
                <a:rect l="0" t="0" r="r" b="b"/>
                <a:pathLst>
                  <a:path w="280" h="302">
                    <a:moveTo>
                      <a:pt x="150" y="172"/>
                    </a:moveTo>
                    <a:lnTo>
                      <a:pt x="85" y="232"/>
                    </a:lnTo>
                    <a:lnTo>
                      <a:pt x="159" y="302"/>
                    </a:lnTo>
                    <a:lnTo>
                      <a:pt x="215" y="252"/>
                    </a:lnTo>
                    <a:lnTo>
                      <a:pt x="235" y="252"/>
                    </a:lnTo>
                    <a:lnTo>
                      <a:pt x="280" y="213"/>
                    </a:lnTo>
                    <a:lnTo>
                      <a:pt x="183" y="130"/>
                    </a:lnTo>
                    <a:lnTo>
                      <a:pt x="174" y="54"/>
                    </a:lnTo>
                    <a:lnTo>
                      <a:pt x="98" y="45"/>
                    </a:lnTo>
                    <a:lnTo>
                      <a:pt x="94" y="0"/>
                    </a:lnTo>
                    <a:lnTo>
                      <a:pt x="0" y="4"/>
                    </a:lnTo>
                    <a:lnTo>
                      <a:pt x="0" y="17"/>
                    </a:lnTo>
                    <a:lnTo>
                      <a:pt x="57" y="74"/>
                    </a:lnTo>
                    <a:lnTo>
                      <a:pt x="150" y="139"/>
                    </a:lnTo>
                    <a:lnTo>
                      <a:pt x="150" y="172"/>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24" name="Freeform 7"/>
              <p:cNvSpPr>
                <a:spLocks/>
              </p:cNvSpPr>
              <p:nvPr/>
            </p:nvSpPr>
            <p:spPr bwMode="auto">
              <a:xfrm>
                <a:off x="1691917" y="1903255"/>
                <a:ext cx="380762" cy="264377"/>
              </a:xfrm>
              <a:custGeom>
                <a:avLst/>
                <a:gdLst/>
                <a:ahLst/>
                <a:cxnLst>
                  <a:cxn ang="0">
                    <a:pos x="0" y="45"/>
                  </a:cxn>
                  <a:cxn ang="0">
                    <a:pos x="4" y="0"/>
                  </a:cxn>
                  <a:cxn ang="0">
                    <a:pos x="69" y="4"/>
                  </a:cxn>
                  <a:cxn ang="0">
                    <a:pos x="78" y="17"/>
                  </a:cxn>
                  <a:cxn ang="0">
                    <a:pos x="106" y="41"/>
                  </a:cxn>
                  <a:cxn ang="0">
                    <a:pos x="135" y="37"/>
                  </a:cxn>
                  <a:cxn ang="0">
                    <a:pos x="187" y="87"/>
                  </a:cxn>
                  <a:cxn ang="0">
                    <a:pos x="211" y="65"/>
                  </a:cxn>
                  <a:cxn ang="0">
                    <a:pos x="265" y="63"/>
                  </a:cxn>
                  <a:cxn ang="0">
                    <a:pos x="265" y="161"/>
                  </a:cxn>
                  <a:cxn ang="0">
                    <a:pos x="243" y="161"/>
                  </a:cxn>
                  <a:cxn ang="0">
                    <a:pos x="219" y="180"/>
                  </a:cxn>
                  <a:cxn ang="0">
                    <a:pos x="139" y="184"/>
                  </a:cxn>
                  <a:cxn ang="0">
                    <a:pos x="102" y="148"/>
                  </a:cxn>
                  <a:cxn ang="0">
                    <a:pos x="41" y="148"/>
                  </a:cxn>
                  <a:cxn ang="0">
                    <a:pos x="37" y="69"/>
                  </a:cxn>
                  <a:cxn ang="0">
                    <a:pos x="0" y="45"/>
                  </a:cxn>
                </a:cxnLst>
                <a:rect l="0" t="0" r="r" b="b"/>
                <a:pathLst>
                  <a:path w="265" h="184">
                    <a:moveTo>
                      <a:pt x="0" y="45"/>
                    </a:moveTo>
                    <a:lnTo>
                      <a:pt x="4" y="0"/>
                    </a:lnTo>
                    <a:lnTo>
                      <a:pt x="69" y="4"/>
                    </a:lnTo>
                    <a:lnTo>
                      <a:pt x="78" y="17"/>
                    </a:lnTo>
                    <a:lnTo>
                      <a:pt x="106" y="41"/>
                    </a:lnTo>
                    <a:lnTo>
                      <a:pt x="135" y="37"/>
                    </a:lnTo>
                    <a:lnTo>
                      <a:pt x="187" y="87"/>
                    </a:lnTo>
                    <a:lnTo>
                      <a:pt x="211" y="65"/>
                    </a:lnTo>
                    <a:lnTo>
                      <a:pt x="265" y="63"/>
                    </a:lnTo>
                    <a:lnTo>
                      <a:pt x="265" y="161"/>
                    </a:lnTo>
                    <a:lnTo>
                      <a:pt x="243" y="161"/>
                    </a:lnTo>
                    <a:lnTo>
                      <a:pt x="219" y="180"/>
                    </a:lnTo>
                    <a:lnTo>
                      <a:pt x="139" y="184"/>
                    </a:lnTo>
                    <a:lnTo>
                      <a:pt x="102" y="148"/>
                    </a:lnTo>
                    <a:lnTo>
                      <a:pt x="41" y="148"/>
                    </a:lnTo>
                    <a:lnTo>
                      <a:pt x="37" y="69"/>
                    </a:lnTo>
                    <a:lnTo>
                      <a:pt x="0" y="45"/>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25" name="Freeform 8"/>
              <p:cNvSpPr>
                <a:spLocks/>
              </p:cNvSpPr>
              <p:nvPr/>
            </p:nvSpPr>
            <p:spPr bwMode="auto">
              <a:xfrm>
                <a:off x="431810" y="1759572"/>
                <a:ext cx="2754419" cy="4076284"/>
              </a:xfrm>
              <a:custGeom>
                <a:avLst/>
                <a:gdLst/>
                <a:ahLst/>
                <a:cxnLst>
                  <a:cxn ang="0">
                    <a:pos x="1474" y="2795"/>
                  </a:cxn>
                  <a:cxn ang="0">
                    <a:pos x="1474" y="2700"/>
                  </a:cxn>
                  <a:cxn ang="0">
                    <a:pos x="1422" y="2519"/>
                  </a:cxn>
                  <a:cxn ang="0">
                    <a:pos x="1498" y="2389"/>
                  </a:cxn>
                  <a:cxn ang="0">
                    <a:pos x="1735" y="2189"/>
                  </a:cxn>
                  <a:cxn ang="0">
                    <a:pos x="1867" y="2002"/>
                  </a:cxn>
                  <a:cxn ang="0">
                    <a:pos x="1758" y="1880"/>
                  </a:cxn>
                  <a:cxn ang="0">
                    <a:pos x="1520" y="1735"/>
                  </a:cxn>
                  <a:cxn ang="0">
                    <a:pos x="1385" y="1637"/>
                  </a:cxn>
                  <a:cxn ang="0">
                    <a:pos x="1214" y="1576"/>
                  </a:cxn>
                  <a:cxn ang="0">
                    <a:pos x="1083" y="1628"/>
                  </a:cxn>
                  <a:cxn ang="0">
                    <a:pos x="970" y="1615"/>
                  </a:cxn>
                  <a:cxn ang="0">
                    <a:pos x="918" y="1485"/>
                  </a:cxn>
                  <a:cxn ang="0">
                    <a:pos x="910" y="1400"/>
                  </a:cxn>
                  <a:cxn ang="0">
                    <a:pos x="703" y="1400"/>
                  </a:cxn>
                  <a:cxn ang="0">
                    <a:pos x="784" y="1232"/>
                  </a:cxn>
                  <a:cxn ang="0">
                    <a:pos x="1109" y="1319"/>
                  </a:cxn>
                  <a:cxn ang="0">
                    <a:pos x="1320" y="969"/>
                  </a:cxn>
                  <a:cxn ang="0">
                    <a:pos x="1520" y="928"/>
                  </a:cxn>
                  <a:cxn ang="0">
                    <a:pos x="1409" y="871"/>
                  </a:cxn>
                  <a:cxn ang="0">
                    <a:pos x="1665" y="817"/>
                  </a:cxn>
                  <a:cxn ang="0">
                    <a:pos x="1613" y="617"/>
                  </a:cxn>
                  <a:cxn ang="0">
                    <a:pos x="1348" y="615"/>
                  </a:cxn>
                  <a:cxn ang="0">
                    <a:pos x="1170" y="658"/>
                  </a:cxn>
                  <a:cxn ang="0">
                    <a:pos x="1170" y="484"/>
                  </a:cxn>
                  <a:cxn ang="0">
                    <a:pos x="1394" y="387"/>
                  </a:cxn>
                  <a:cxn ang="0">
                    <a:pos x="1296" y="263"/>
                  </a:cxn>
                  <a:cxn ang="0">
                    <a:pos x="1218" y="378"/>
                  </a:cxn>
                  <a:cxn ang="0">
                    <a:pos x="797" y="154"/>
                  </a:cxn>
                  <a:cxn ang="0">
                    <a:pos x="438" y="39"/>
                  </a:cxn>
                  <a:cxn ang="0">
                    <a:pos x="326" y="0"/>
                  </a:cxn>
                  <a:cxn ang="0">
                    <a:pos x="150" y="121"/>
                  </a:cxn>
                  <a:cxn ang="0">
                    <a:pos x="65" y="378"/>
                  </a:cxn>
                  <a:cxn ang="0">
                    <a:pos x="126" y="365"/>
                  </a:cxn>
                  <a:cxn ang="0">
                    <a:pos x="406" y="406"/>
                  </a:cxn>
                  <a:cxn ang="0">
                    <a:pos x="458" y="808"/>
                  </a:cxn>
                  <a:cxn ang="0">
                    <a:pos x="419" y="1082"/>
                  </a:cxn>
                  <a:cxn ang="0">
                    <a:pos x="475" y="1176"/>
                  </a:cxn>
                  <a:cxn ang="0">
                    <a:pos x="645" y="1450"/>
                  </a:cxn>
                  <a:cxn ang="0">
                    <a:pos x="779" y="1511"/>
                  </a:cxn>
                  <a:cxn ang="0">
                    <a:pos x="918" y="1615"/>
                  </a:cxn>
                  <a:cxn ang="0">
                    <a:pos x="1109" y="1758"/>
                  </a:cxn>
                  <a:cxn ang="0">
                    <a:pos x="1116" y="1922"/>
                  </a:cxn>
                  <a:cxn ang="0">
                    <a:pos x="1198" y="2080"/>
                  </a:cxn>
                  <a:cxn ang="0">
                    <a:pos x="1311" y="2248"/>
                  </a:cxn>
                  <a:cxn ang="0">
                    <a:pos x="1478" y="2837"/>
                  </a:cxn>
                </a:cxnLst>
                <a:rect l="0" t="0" r="r" b="b"/>
                <a:pathLst>
                  <a:path w="1917" h="2837">
                    <a:moveTo>
                      <a:pt x="1478" y="2837"/>
                    </a:moveTo>
                    <a:lnTo>
                      <a:pt x="1511" y="2837"/>
                    </a:lnTo>
                    <a:lnTo>
                      <a:pt x="1474" y="2795"/>
                    </a:lnTo>
                    <a:lnTo>
                      <a:pt x="1422" y="2772"/>
                    </a:lnTo>
                    <a:lnTo>
                      <a:pt x="1428" y="2735"/>
                    </a:lnTo>
                    <a:lnTo>
                      <a:pt x="1474" y="2700"/>
                    </a:lnTo>
                    <a:lnTo>
                      <a:pt x="1483" y="2669"/>
                    </a:lnTo>
                    <a:lnTo>
                      <a:pt x="1422" y="2645"/>
                    </a:lnTo>
                    <a:lnTo>
                      <a:pt x="1422" y="2519"/>
                    </a:lnTo>
                    <a:lnTo>
                      <a:pt x="1507" y="2439"/>
                    </a:lnTo>
                    <a:lnTo>
                      <a:pt x="1535" y="2435"/>
                    </a:lnTo>
                    <a:lnTo>
                      <a:pt x="1498" y="2389"/>
                    </a:lnTo>
                    <a:lnTo>
                      <a:pt x="1596" y="2380"/>
                    </a:lnTo>
                    <a:lnTo>
                      <a:pt x="1735" y="2272"/>
                    </a:lnTo>
                    <a:lnTo>
                      <a:pt x="1735" y="2189"/>
                    </a:lnTo>
                    <a:lnTo>
                      <a:pt x="1824" y="2187"/>
                    </a:lnTo>
                    <a:lnTo>
                      <a:pt x="1819" y="2024"/>
                    </a:lnTo>
                    <a:lnTo>
                      <a:pt x="1867" y="2002"/>
                    </a:lnTo>
                    <a:lnTo>
                      <a:pt x="1917" y="1950"/>
                    </a:lnTo>
                    <a:lnTo>
                      <a:pt x="1917" y="1889"/>
                    </a:lnTo>
                    <a:lnTo>
                      <a:pt x="1758" y="1880"/>
                    </a:lnTo>
                    <a:lnTo>
                      <a:pt x="1633" y="1763"/>
                    </a:lnTo>
                    <a:lnTo>
                      <a:pt x="1567" y="1737"/>
                    </a:lnTo>
                    <a:lnTo>
                      <a:pt x="1520" y="1735"/>
                    </a:lnTo>
                    <a:lnTo>
                      <a:pt x="1450" y="1674"/>
                    </a:lnTo>
                    <a:lnTo>
                      <a:pt x="1428" y="1676"/>
                    </a:lnTo>
                    <a:lnTo>
                      <a:pt x="1385" y="1637"/>
                    </a:lnTo>
                    <a:lnTo>
                      <a:pt x="1283" y="1632"/>
                    </a:lnTo>
                    <a:lnTo>
                      <a:pt x="1283" y="1582"/>
                    </a:lnTo>
                    <a:lnTo>
                      <a:pt x="1214" y="1576"/>
                    </a:lnTo>
                    <a:lnTo>
                      <a:pt x="1170" y="1595"/>
                    </a:lnTo>
                    <a:lnTo>
                      <a:pt x="1142" y="1632"/>
                    </a:lnTo>
                    <a:lnTo>
                      <a:pt x="1083" y="1628"/>
                    </a:lnTo>
                    <a:lnTo>
                      <a:pt x="1016" y="1628"/>
                    </a:lnTo>
                    <a:lnTo>
                      <a:pt x="994" y="1637"/>
                    </a:lnTo>
                    <a:lnTo>
                      <a:pt x="970" y="1615"/>
                    </a:lnTo>
                    <a:lnTo>
                      <a:pt x="966" y="1513"/>
                    </a:lnTo>
                    <a:lnTo>
                      <a:pt x="923" y="1511"/>
                    </a:lnTo>
                    <a:lnTo>
                      <a:pt x="918" y="1485"/>
                    </a:lnTo>
                    <a:lnTo>
                      <a:pt x="970" y="1445"/>
                    </a:lnTo>
                    <a:lnTo>
                      <a:pt x="970" y="1404"/>
                    </a:lnTo>
                    <a:lnTo>
                      <a:pt x="910" y="1400"/>
                    </a:lnTo>
                    <a:lnTo>
                      <a:pt x="853" y="1445"/>
                    </a:lnTo>
                    <a:lnTo>
                      <a:pt x="760" y="1445"/>
                    </a:lnTo>
                    <a:lnTo>
                      <a:pt x="703" y="1400"/>
                    </a:lnTo>
                    <a:lnTo>
                      <a:pt x="699" y="1298"/>
                    </a:lnTo>
                    <a:lnTo>
                      <a:pt x="779" y="1298"/>
                    </a:lnTo>
                    <a:lnTo>
                      <a:pt x="784" y="1232"/>
                    </a:lnTo>
                    <a:lnTo>
                      <a:pt x="1068" y="1228"/>
                    </a:lnTo>
                    <a:lnTo>
                      <a:pt x="1077" y="1321"/>
                    </a:lnTo>
                    <a:lnTo>
                      <a:pt x="1109" y="1319"/>
                    </a:lnTo>
                    <a:lnTo>
                      <a:pt x="1109" y="1185"/>
                    </a:lnTo>
                    <a:lnTo>
                      <a:pt x="1316" y="1013"/>
                    </a:lnTo>
                    <a:lnTo>
                      <a:pt x="1320" y="969"/>
                    </a:lnTo>
                    <a:lnTo>
                      <a:pt x="1450" y="965"/>
                    </a:lnTo>
                    <a:lnTo>
                      <a:pt x="1461" y="985"/>
                    </a:lnTo>
                    <a:lnTo>
                      <a:pt x="1520" y="928"/>
                    </a:lnTo>
                    <a:lnTo>
                      <a:pt x="1515" y="891"/>
                    </a:lnTo>
                    <a:lnTo>
                      <a:pt x="1409" y="895"/>
                    </a:lnTo>
                    <a:lnTo>
                      <a:pt x="1409" y="871"/>
                    </a:lnTo>
                    <a:lnTo>
                      <a:pt x="1461" y="841"/>
                    </a:lnTo>
                    <a:lnTo>
                      <a:pt x="1489" y="813"/>
                    </a:lnTo>
                    <a:lnTo>
                      <a:pt x="1665" y="817"/>
                    </a:lnTo>
                    <a:lnTo>
                      <a:pt x="1665" y="765"/>
                    </a:lnTo>
                    <a:lnTo>
                      <a:pt x="1620" y="724"/>
                    </a:lnTo>
                    <a:lnTo>
                      <a:pt x="1613" y="617"/>
                    </a:lnTo>
                    <a:lnTo>
                      <a:pt x="1483" y="617"/>
                    </a:lnTo>
                    <a:lnTo>
                      <a:pt x="1409" y="556"/>
                    </a:lnTo>
                    <a:lnTo>
                      <a:pt x="1348" y="615"/>
                    </a:lnTo>
                    <a:lnTo>
                      <a:pt x="1339" y="691"/>
                    </a:lnTo>
                    <a:lnTo>
                      <a:pt x="1214" y="695"/>
                    </a:lnTo>
                    <a:lnTo>
                      <a:pt x="1170" y="658"/>
                    </a:lnTo>
                    <a:lnTo>
                      <a:pt x="1101" y="663"/>
                    </a:lnTo>
                    <a:lnTo>
                      <a:pt x="1096" y="556"/>
                    </a:lnTo>
                    <a:lnTo>
                      <a:pt x="1170" y="484"/>
                    </a:lnTo>
                    <a:lnTo>
                      <a:pt x="1268" y="480"/>
                    </a:lnTo>
                    <a:lnTo>
                      <a:pt x="1296" y="467"/>
                    </a:lnTo>
                    <a:lnTo>
                      <a:pt x="1394" y="387"/>
                    </a:lnTo>
                    <a:lnTo>
                      <a:pt x="1394" y="337"/>
                    </a:lnTo>
                    <a:lnTo>
                      <a:pt x="1303" y="332"/>
                    </a:lnTo>
                    <a:lnTo>
                      <a:pt x="1296" y="263"/>
                    </a:lnTo>
                    <a:lnTo>
                      <a:pt x="1246" y="263"/>
                    </a:lnTo>
                    <a:lnTo>
                      <a:pt x="1255" y="354"/>
                    </a:lnTo>
                    <a:lnTo>
                      <a:pt x="1218" y="378"/>
                    </a:lnTo>
                    <a:lnTo>
                      <a:pt x="1016" y="387"/>
                    </a:lnTo>
                    <a:lnTo>
                      <a:pt x="797" y="198"/>
                    </a:lnTo>
                    <a:lnTo>
                      <a:pt x="797" y="154"/>
                    </a:lnTo>
                    <a:lnTo>
                      <a:pt x="649" y="145"/>
                    </a:lnTo>
                    <a:lnTo>
                      <a:pt x="597" y="178"/>
                    </a:lnTo>
                    <a:lnTo>
                      <a:pt x="438" y="39"/>
                    </a:lnTo>
                    <a:lnTo>
                      <a:pt x="410" y="37"/>
                    </a:lnTo>
                    <a:lnTo>
                      <a:pt x="378" y="0"/>
                    </a:lnTo>
                    <a:lnTo>
                      <a:pt x="326" y="0"/>
                    </a:lnTo>
                    <a:lnTo>
                      <a:pt x="280" y="37"/>
                    </a:lnTo>
                    <a:lnTo>
                      <a:pt x="150" y="39"/>
                    </a:lnTo>
                    <a:lnTo>
                      <a:pt x="150" y="121"/>
                    </a:lnTo>
                    <a:lnTo>
                      <a:pt x="19" y="234"/>
                    </a:lnTo>
                    <a:lnTo>
                      <a:pt x="19" y="337"/>
                    </a:lnTo>
                    <a:lnTo>
                      <a:pt x="65" y="378"/>
                    </a:lnTo>
                    <a:lnTo>
                      <a:pt x="0" y="443"/>
                    </a:lnTo>
                    <a:lnTo>
                      <a:pt x="19" y="454"/>
                    </a:lnTo>
                    <a:lnTo>
                      <a:pt x="126" y="365"/>
                    </a:lnTo>
                    <a:lnTo>
                      <a:pt x="304" y="361"/>
                    </a:lnTo>
                    <a:lnTo>
                      <a:pt x="313" y="406"/>
                    </a:lnTo>
                    <a:lnTo>
                      <a:pt x="406" y="406"/>
                    </a:lnTo>
                    <a:lnTo>
                      <a:pt x="406" y="552"/>
                    </a:lnTo>
                    <a:lnTo>
                      <a:pt x="462" y="602"/>
                    </a:lnTo>
                    <a:lnTo>
                      <a:pt x="458" y="808"/>
                    </a:lnTo>
                    <a:lnTo>
                      <a:pt x="378" y="878"/>
                    </a:lnTo>
                    <a:lnTo>
                      <a:pt x="386" y="1045"/>
                    </a:lnTo>
                    <a:lnTo>
                      <a:pt x="419" y="1082"/>
                    </a:lnTo>
                    <a:lnTo>
                      <a:pt x="419" y="1232"/>
                    </a:lnTo>
                    <a:lnTo>
                      <a:pt x="471" y="1274"/>
                    </a:lnTo>
                    <a:lnTo>
                      <a:pt x="475" y="1176"/>
                    </a:lnTo>
                    <a:lnTo>
                      <a:pt x="532" y="1221"/>
                    </a:lnTo>
                    <a:lnTo>
                      <a:pt x="536" y="1343"/>
                    </a:lnTo>
                    <a:lnTo>
                      <a:pt x="645" y="1450"/>
                    </a:lnTo>
                    <a:lnTo>
                      <a:pt x="662" y="1445"/>
                    </a:lnTo>
                    <a:lnTo>
                      <a:pt x="723" y="1504"/>
                    </a:lnTo>
                    <a:lnTo>
                      <a:pt x="779" y="1511"/>
                    </a:lnTo>
                    <a:lnTo>
                      <a:pt x="803" y="1526"/>
                    </a:lnTo>
                    <a:lnTo>
                      <a:pt x="914" y="1539"/>
                    </a:lnTo>
                    <a:lnTo>
                      <a:pt x="918" y="1615"/>
                    </a:lnTo>
                    <a:lnTo>
                      <a:pt x="970" y="1648"/>
                    </a:lnTo>
                    <a:lnTo>
                      <a:pt x="1105" y="1661"/>
                    </a:lnTo>
                    <a:lnTo>
                      <a:pt x="1109" y="1758"/>
                    </a:lnTo>
                    <a:lnTo>
                      <a:pt x="1072" y="1778"/>
                    </a:lnTo>
                    <a:lnTo>
                      <a:pt x="1012" y="1832"/>
                    </a:lnTo>
                    <a:lnTo>
                      <a:pt x="1116" y="1922"/>
                    </a:lnTo>
                    <a:lnTo>
                      <a:pt x="1148" y="1926"/>
                    </a:lnTo>
                    <a:lnTo>
                      <a:pt x="1142" y="2039"/>
                    </a:lnTo>
                    <a:lnTo>
                      <a:pt x="1198" y="2080"/>
                    </a:lnTo>
                    <a:lnTo>
                      <a:pt x="1250" y="2122"/>
                    </a:lnTo>
                    <a:lnTo>
                      <a:pt x="1255" y="2198"/>
                    </a:lnTo>
                    <a:lnTo>
                      <a:pt x="1311" y="2248"/>
                    </a:lnTo>
                    <a:lnTo>
                      <a:pt x="1316" y="2706"/>
                    </a:lnTo>
                    <a:lnTo>
                      <a:pt x="1400" y="2780"/>
                    </a:lnTo>
                    <a:lnTo>
                      <a:pt x="1478" y="2837"/>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26" name="Freeform 9"/>
              <p:cNvSpPr>
                <a:spLocks/>
              </p:cNvSpPr>
              <p:nvPr/>
            </p:nvSpPr>
            <p:spPr bwMode="auto">
              <a:xfrm>
                <a:off x="3993732" y="1765320"/>
                <a:ext cx="4704208" cy="3480000"/>
              </a:xfrm>
              <a:custGeom>
                <a:avLst/>
                <a:gdLst/>
                <a:ahLst/>
                <a:cxnLst>
                  <a:cxn ang="0">
                    <a:pos x="2682" y="1124"/>
                  </a:cxn>
                  <a:cxn ang="0">
                    <a:pos x="2729" y="911"/>
                  </a:cxn>
                  <a:cxn ang="0">
                    <a:pos x="2649" y="622"/>
                  </a:cxn>
                  <a:cxn ang="0">
                    <a:pos x="2840" y="415"/>
                  </a:cxn>
                  <a:cxn ang="0">
                    <a:pos x="2949" y="257"/>
                  </a:cxn>
                  <a:cxn ang="0">
                    <a:pos x="2949" y="524"/>
                  </a:cxn>
                  <a:cxn ang="0">
                    <a:pos x="3018" y="483"/>
                  </a:cxn>
                  <a:cxn ang="0">
                    <a:pos x="3153" y="194"/>
                  </a:cxn>
                  <a:cxn ang="0">
                    <a:pos x="3079" y="113"/>
                  </a:cxn>
                  <a:cxn ang="0">
                    <a:pos x="3196" y="98"/>
                  </a:cxn>
                  <a:cxn ang="0">
                    <a:pos x="3205" y="0"/>
                  </a:cxn>
                  <a:cxn ang="0">
                    <a:pos x="2892" y="85"/>
                  </a:cxn>
                  <a:cxn ang="0">
                    <a:pos x="2645" y="35"/>
                  </a:cxn>
                  <a:cxn ang="0">
                    <a:pos x="2169" y="154"/>
                  </a:cxn>
                  <a:cxn ang="0">
                    <a:pos x="2061" y="117"/>
                  </a:cxn>
                  <a:cxn ang="0">
                    <a:pos x="1748" y="194"/>
                  </a:cxn>
                  <a:cxn ang="0">
                    <a:pos x="1787" y="98"/>
                  </a:cxn>
                  <a:cxn ang="0">
                    <a:pos x="1507" y="259"/>
                  </a:cxn>
                  <a:cxn ang="0">
                    <a:pos x="1349" y="411"/>
                  </a:cxn>
                  <a:cxn ang="0">
                    <a:pos x="1086" y="487"/>
                  </a:cxn>
                  <a:cxn ang="0">
                    <a:pos x="895" y="602"/>
                  </a:cxn>
                  <a:cxn ang="0">
                    <a:pos x="899" y="487"/>
                  </a:cxn>
                  <a:cxn ang="0">
                    <a:pos x="550" y="541"/>
                  </a:cxn>
                  <a:cxn ang="0">
                    <a:pos x="439" y="654"/>
                  </a:cxn>
                  <a:cxn ang="0">
                    <a:pos x="558" y="802"/>
                  </a:cxn>
                  <a:cxn ang="0">
                    <a:pos x="712" y="570"/>
                  </a:cxn>
                  <a:cxn ang="0">
                    <a:pos x="615" y="826"/>
                  </a:cxn>
                  <a:cxn ang="0">
                    <a:pos x="524" y="831"/>
                  </a:cxn>
                  <a:cxn ang="0">
                    <a:pos x="285" y="963"/>
                  </a:cxn>
                  <a:cxn ang="0">
                    <a:pos x="196" y="1074"/>
                  </a:cxn>
                  <a:cxn ang="0">
                    <a:pos x="330" y="1167"/>
                  </a:cxn>
                  <a:cxn ang="0">
                    <a:pos x="517" y="1131"/>
                  </a:cxn>
                  <a:cxn ang="0">
                    <a:pos x="623" y="1172"/>
                  </a:cxn>
                  <a:cxn ang="0">
                    <a:pos x="541" y="1054"/>
                  </a:cxn>
                  <a:cxn ang="0">
                    <a:pos x="825" y="1094"/>
                  </a:cxn>
                  <a:cxn ang="0">
                    <a:pos x="1029" y="1046"/>
                  </a:cxn>
                  <a:cxn ang="0">
                    <a:pos x="849" y="1148"/>
                  </a:cxn>
                  <a:cxn ang="0">
                    <a:pos x="1029" y="1246"/>
                  </a:cxn>
                  <a:cxn ang="0">
                    <a:pos x="712" y="1274"/>
                  </a:cxn>
                  <a:cxn ang="0">
                    <a:pos x="196" y="1241"/>
                  </a:cxn>
                  <a:cxn ang="0">
                    <a:pos x="50" y="1424"/>
                  </a:cxn>
                  <a:cxn ang="0">
                    <a:pos x="261" y="1763"/>
                  </a:cxn>
                  <a:cxn ang="0">
                    <a:pos x="517" y="1802"/>
                  </a:cxn>
                  <a:cxn ang="0">
                    <a:pos x="658" y="2381"/>
                  </a:cxn>
                  <a:cxn ang="0">
                    <a:pos x="904" y="2324"/>
                  </a:cxn>
                  <a:cxn ang="0">
                    <a:pos x="1016" y="2157"/>
                  </a:cxn>
                  <a:cxn ang="0">
                    <a:pos x="1064" y="1974"/>
                  </a:cxn>
                  <a:cxn ang="0">
                    <a:pos x="1138" y="1522"/>
                  </a:cxn>
                  <a:cxn ang="0">
                    <a:pos x="1008" y="1344"/>
                  </a:cxn>
                  <a:cxn ang="0">
                    <a:pos x="1362" y="1568"/>
                  </a:cxn>
                  <a:cxn ang="0">
                    <a:pos x="1342" y="1400"/>
                  </a:cxn>
                  <a:cxn ang="0">
                    <a:pos x="1320" y="1285"/>
                  </a:cxn>
                  <a:cxn ang="0">
                    <a:pos x="1722" y="1554"/>
                  </a:cxn>
                  <a:cxn ang="0">
                    <a:pos x="2006" y="1433"/>
                  </a:cxn>
                  <a:cxn ang="0">
                    <a:pos x="2243" y="1676"/>
                  </a:cxn>
                  <a:cxn ang="0">
                    <a:pos x="2380" y="1741"/>
                  </a:cxn>
                  <a:cxn ang="0">
                    <a:pos x="2373" y="1657"/>
                  </a:cxn>
                  <a:cxn ang="0">
                    <a:pos x="2449" y="1550"/>
                  </a:cxn>
                  <a:cxn ang="0">
                    <a:pos x="2336" y="1437"/>
                  </a:cxn>
                  <a:cxn ang="0">
                    <a:pos x="2621" y="1181"/>
                  </a:cxn>
                  <a:cxn ang="0">
                    <a:pos x="2532" y="1059"/>
                  </a:cxn>
                  <a:cxn ang="0">
                    <a:pos x="2454" y="1009"/>
                  </a:cxn>
                </a:cxnLst>
                <a:rect l="0" t="0" r="r" b="b"/>
                <a:pathLst>
                  <a:path w="3274" h="2422">
                    <a:moveTo>
                      <a:pt x="2543" y="948"/>
                    </a:moveTo>
                    <a:lnTo>
                      <a:pt x="2682" y="1074"/>
                    </a:lnTo>
                    <a:lnTo>
                      <a:pt x="2653" y="1111"/>
                    </a:lnTo>
                    <a:lnTo>
                      <a:pt x="2682" y="1124"/>
                    </a:lnTo>
                    <a:lnTo>
                      <a:pt x="2734" y="1074"/>
                    </a:lnTo>
                    <a:lnTo>
                      <a:pt x="2669" y="1013"/>
                    </a:lnTo>
                    <a:lnTo>
                      <a:pt x="2664" y="915"/>
                    </a:lnTo>
                    <a:lnTo>
                      <a:pt x="2729" y="911"/>
                    </a:lnTo>
                    <a:lnTo>
                      <a:pt x="2734" y="831"/>
                    </a:lnTo>
                    <a:lnTo>
                      <a:pt x="2693" y="798"/>
                    </a:lnTo>
                    <a:lnTo>
                      <a:pt x="2693" y="659"/>
                    </a:lnTo>
                    <a:lnTo>
                      <a:pt x="2649" y="622"/>
                    </a:lnTo>
                    <a:lnTo>
                      <a:pt x="2649" y="480"/>
                    </a:lnTo>
                    <a:lnTo>
                      <a:pt x="2729" y="430"/>
                    </a:lnTo>
                    <a:lnTo>
                      <a:pt x="2786" y="450"/>
                    </a:lnTo>
                    <a:lnTo>
                      <a:pt x="2840" y="415"/>
                    </a:lnTo>
                    <a:lnTo>
                      <a:pt x="2836" y="361"/>
                    </a:lnTo>
                    <a:lnTo>
                      <a:pt x="2873" y="354"/>
                    </a:lnTo>
                    <a:lnTo>
                      <a:pt x="2884" y="259"/>
                    </a:lnTo>
                    <a:lnTo>
                      <a:pt x="2949" y="257"/>
                    </a:lnTo>
                    <a:lnTo>
                      <a:pt x="2949" y="402"/>
                    </a:lnTo>
                    <a:lnTo>
                      <a:pt x="2916" y="411"/>
                    </a:lnTo>
                    <a:lnTo>
                      <a:pt x="2912" y="483"/>
                    </a:lnTo>
                    <a:lnTo>
                      <a:pt x="2949" y="524"/>
                    </a:lnTo>
                    <a:lnTo>
                      <a:pt x="2981" y="524"/>
                    </a:lnTo>
                    <a:lnTo>
                      <a:pt x="2981" y="589"/>
                    </a:lnTo>
                    <a:lnTo>
                      <a:pt x="3018" y="611"/>
                    </a:lnTo>
                    <a:lnTo>
                      <a:pt x="3018" y="483"/>
                    </a:lnTo>
                    <a:lnTo>
                      <a:pt x="2981" y="454"/>
                    </a:lnTo>
                    <a:lnTo>
                      <a:pt x="2977" y="337"/>
                    </a:lnTo>
                    <a:lnTo>
                      <a:pt x="3018" y="304"/>
                    </a:lnTo>
                    <a:lnTo>
                      <a:pt x="3153" y="194"/>
                    </a:lnTo>
                    <a:lnTo>
                      <a:pt x="3088" y="187"/>
                    </a:lnTo>
                    <a:lnTo>
                      <a:pt x="3079" y="159"/>
                    </a:lnTo>
                    <a:lnTo>
                      <a:pt x="3112" y="141"/>
                    </a:lnTo>
                    <a:lnTo>
                      <a:pt x="3079" y="113"/>
                    </a:lnTo>
                    <a:lnTo>
                      <a:pt x="3088" y="94"/>
                    </a:lnTo>
                    <a:lnTo>
                      <a:pt x="3116" y="61"/>
                    </a:lnTo>
                    <a:lnTo>
                      <a:pt x="3153" y="57"/>
                    </a:lnTo>
                    <a:lnTo>
                      <a:pt x="3196" y="98"/>
                    </a:lnTo>
                    <a:lnTo>
                      <a:pt x="3224" y="80"/>
                    </a:lnTo>
                    <a:lnTo>
                      <a:pt x="3242" y="89"/>
                    </a:lnTo>
                    <a:lnTo>
                      <a:pt x="3274" y="57"/>
                    </a:lnTo>
                    <a:lnTo>
                      <a:pt x="3205" y="0"/>
                    </a:lnTo>
                    <a:lnTo>
                      <a:pt x="2897" y="0"/>
                    </a:lnTo>
                    <a:lnTo>
                      <a:pt x="2873" y="33"/>
                    </a:lnTo>
                    <a:lnTo>
                      <a:pt x="2901" y="67"/>
                    </a:lnTo>
                    <a:lnTo>
                      <a:pt x="2892" y="85"/>
                    </a:lnTo>
                    <a:lnTo>
                      <a:pt x="2734" y="89"/>
                    </a:lnTo>
                    <a:lnTo>
                      <a:pt x="2693" y="52"/>
                    </a:lnTo>
                    <a:lnTo>
                      <a:pt x="2669" y="52"/>
                    </a:lnTo>
                    <a:lnTo>
                      <a:pt x="2645" y="35"/>
                    </a:lnTo>
                    <a:lnTo>
                      <a:pt x="2612" y="72"/>
                    </a:lnTo>
                    <a:lnTo>
                      <a:pt x="2373" y="76"/>
                    </a:lnTo>
                    <a:lnTo>
                      <a:pt x="2280" y="161"/>
                    </a:lnTo>
                    <a:lnTo>
                      <a:pt x="2169" y="154"/>
                    </a:lnTo>
                    <a:lnTo>
                      <a:pt x="2165" y="104"/>
                    </a:lnTo>
                    <a:lnTo>
                      <a:pt x="2104" y="100"/>
                    </a:lnTo>
                    <a:lnTo>
                      <a:pt x="2085" y="122"/>
                    </a:lnTo>
                    <a:lnTo>
                      <a:pt x="2061" y="117"/>
                    </a:lnTo>
                    <a:lnTo>
                      <a:pt x="2056" y="133"/>
                    </a:lnTo>
                    <a:lnTo>
                      <a:pt x="1950" y="133"/>
                    </a:lnTo>
                    <a:lnTo>
                      <a:pt x="1824" y="248"/>
                    </a:lnTo>
                    <a:lnTo>
                      <a:pt x="1748" y="194"/>
                    </a:lnTo>
                    <a:lnTo>
                      <a:pt x="1792" y="159"/>
                    </a:lnTo>
                    <a:lnTo>
                      <a:pt x="1809" y="159"/>
                    </a:lnTo>
                    <a:lnTo>
                      <a:pt x="1870" y="98"/>
                    </a:lnTo>
                    <a:lnTo>
                      <a:pt x="1787" y="98"/>
                    </a:lnTo>
                    <a:lnTo>
                      <a:pt x="1739" y="72"/>
                    </a:lnTo>
                    <a:lnTo>
                      <a:pt x="1585" y="207"/>
                    </a:lnTo>
                    <a:lnTo>
                      <a:pt x="1561" y="198"/>
                    </a:lnTo>
                    <a:lnTo>
                      <a:pt x="1507" y="259"/>
                    </a:lnTo>
                    <a:lnTo>
                      <a:pt x="1503" y="341"/>
                    </a:lnTo>
                    <a:lnTo>
                      <a:pt x="1357" y="346"/>
                    </a:lnTo>
                    <a:lnTo>
                      <a:pt x="1320" y="383"/>
                    </a:lnTo>
                    <a:lnTo>
                      <a:pt x="1349" y="411"/>
                    </a:lnTo>
                    <a:lnTo>
                      <a:pt x="1342" y="426"/>
                    </a:lnTo>
                    <a:lnTo>
                      <a:pt x="1260" y="430"/>
                    </a:lnTo>
                    <a:lnTo>
                      <a:pt x="1194" y="476"/>
                    </a:lnTo>
                    <a:lnTo>
                      <a:pt x="1086" y="487"/>
                    </a:lnTo>
                    <a:lnTo>
                      <a:pt x="1077" y="541"/>
                    </a:lnTo>
                    <a:lnTo>
                      <a:pt x="1003" y="541"/>
                    </a:lnTo>
                    <a:lnTo>
                      <a:pt x="927" y="607"/>
                    </a:lnTo>
                    <a:lnTo>
                      <a:pt x="895" y="602"/>
                    </a:lnTo>
                    <a:lnTo>
                      <a:pt x="830" y="546"/>
                    </a:lnTo>
                    <a:lnTo>
                      <a:pt x="886" y="537"/>
                    </a:lnTo>
                    <a:lnTo>
                      <a:pt x="919" y="513"/>
                    </a:lnTo>
                    <a:lnTo>
                      <a:pt x="899" y="487"/>
                    </a:lnTo>
                    <a:lnTo>
                      <a:pt x="817" y="496"/>
                    </a:lnTo>
                    <a:lnTo>
                      <a:pt x="778" y="454"/>
                    </a:lnTo>
                    <a:lnTo>
                      <a:pt x="643" y="454"/>
                    </a:lnTo>
                    <a:lnTo>
                      <a:pt x="550" y="541"/>
                    </a:lnTo>
                    <a:lnTo>
                      <a:pt x="545" y="548"/>
                    </a:lnTo>
                    <a:lnTo>
                      <a:pt x="484" y="602"/>
                    </a:lnTo>
                    <a:lnTo>
                      <a:pt x="484" y="650"/>
                    </a:lnTo>
                    <a:lnTo>
                      <a:pt x="439" y="654"/>
                    </a:lnTo>
                    <a:lnTo>
                      <a:pt x="428" y="748"/>
                    </a:lnTo>
                    <a:lnTo>
                      <a:pt x="493" y="757"/>
                    </a:lnTo>
                    <a:lnTo>
                      <a:pt x="517" y="761"/>
                    </a:lnTo>
                    <a:lnTo>
                      <a:pt x="558" y="802"/>
                    </a:lnTo>
                    <a:lnTo>
                      <a:pt x="597" y="772"/>
                    </a:lnTo>
                    <a:lnTo>
                      <a:pt x="591" y="646"/>
                    </a:lnTo>
                    <a:lnTo>
                      <a:pt x="695" y="570"/>
                    </a:lnTo>
                    <a:lnTo>
                      <a:pt x="712" y="570"/>
                    </a:lnTo>
                    <a:lnTo>
                      <a:pt x="756" y="598"/>
                    </a:lnTo>
                    <a:lnTo>
                      <a:pt x="699" y="650"/>
                    </a:lnTo>
                    <a:lnTo>
                      <a:pt x="699" y="826"/>
                    </a:lnTo>
                    <a:lnTo>
                      <a:pt x="615" y="826"/>
                    </a:lnTo>
                    <a:lnTo>
                      <a:pt x="565" y="883"/>
                    </a:lnTo>
                    <a:lnTo>
                      <a:pt x="539" y="883"/>
                    </a:lnTo>
                    <a:lnTo>
                      <a:pt x="532" y="831"/>
                    </a:lnTo>
                    <a:lnTo>
                      <a:pt x="524" y="831"/>
                    </a:lnTo>
                    <a:lnTo>
                      <a:pt x="515" y="885"/>
                    </a:lnTo>
                    <a:lnTo>
                      <a:pt x="443" y="887"/>
                    </a:lnTo>
                    <a:lnTo>
                      <a:pt x="363" y="957"/>
                    </a:lnTo>
                    <a:lnTo>
                      <a:pt x="285" y="963"/>
                    </a:lnTo>
                    <a:lnTo>
                      <a:pt x="322" y="996"/>
                    </a:lnTo>
                    <a:lnTo>
                      <a:pt x="306" y="1026"/>
                    </a:lnTo>
                    <a:lnTo>
                      <a:pt x="317" y="1070"/>
                    </a:lnTo>
                    <a:lnTo>
                      <a:pt x="196" y="1074"/>
                    </a:lnTo>
                    <a:lnTo>
                      <a:pt x="185" y="1152"/>
                    </a:lnTo>
                    <a:lnTo>
                      <a:pt x="220" y="1176"/>
                    </a:lnTo>
                    <a:lnTo>
                      <a:pt x="257" y="1181"/>
                    </a:lnTo>
                    <a:lnTo>
                      <a:pt x="330" y="1167"/>
                    </a:lnTo>
                    <a:lnTo>
                      <a:pt x="326" y="1131"/>
                    </a:lnTo>
                    <a:lnTo>
                      <a:pt x="391" y="1078"/>
                    </a:lnTo>
                    <a:lnTo>
                      <a:pt x="480" y="1078"/>
                    </a:lnTo>
                    <a:lnTo>
                      <a:pt x="517" y="1131"/>
                    </a:lnTo>
                    <a:lnTo>
                      <a:pt x="565" y="1131"/>
                    </a:lnTo>
                    <a:lnTo>
                      <a:pt x="597" y="1163"/>
                    </a:lnTo>
                    <a:lnTo>
                      <a:pt x="587" y="1196"/>
                    </a:lnTo>
                    <a:lnTo>
                      <a:pt x="623" y="1172"/>
                    </a:lnTo>
                    <a:lnTo>
                      <a:pt x="617" y="1146"/>
                    </a:lnTo>
                    <a:lnTo>
                      <a:pt x="641" y="1148"/>
                    </a:lnTo>
                    <a:lnTo>
                      <a:pt x="569" y="1083"/>
                    </a:lnTo>
                    <a:lnTo>
                      <a:pt x="541" y="1054"/>
                    </a:lnTo>
                    <a:lnTo>
                      <a:pt x="550" y="1026"/>
                    </a:lnTo>
                    <a:lnTo>
                      <a:pt x="574" y="1026"/>
                    </a:lnTo>
                    <a:lnTo>
                      <a:pt x="736" y="1159"/>
                    </a:lnTo>
                    <a:lnTo>
                      <a:pt x="825" y="1094"/>
                    </a:lnTo>
                    <a:lnTo>
                      <a:pt x="821" y="1059"/>
                    </a:lnTo>
                    <a:lnTo>
                      <a:pt x="910" y="981"/>
                    </a:lnTo>
                    <a:lnTo>
                      <a:pt x="923" y="1041"/>
                    </a:lnTo>
                    <a:lnTo>
                      <a:pt x="1029" y="1046"/>
                    </a:lnTo>
                    <a:lnTo>
                      <a:pt x="1082" y="1091"/>
                    </a:lnTo>
                    <a:lnTo>
                      <a:pt x="1082" y="1111"/>
                    </a:lnTo>
                    <a:lnTo>
                      <a:pt x="886" y="1120"/>
                    </a:lnTo>
                    <a:lnTo>
                      <a:pt x="849" y="1148"/>
                    </a:lnTo>
                    <a:lnTo>
                      <a:pt x="882" y="1187"/>
                    </a:lnTo>
                    <a:lnTo>
                      <a:pt x="1003" y="1185"/>
                    </a:lnTo>
                    <a:lnTo>
                      <a:pt x="1053" y="1233"/>
                    </a:lnTo>
                    <a:lnTo>
                      <a:pt x="1029" y="1246"/>
                    </a:lnTo>
                    <a:lnTo>
                      <a:pt x="980" y="1302"/>
                    </a:lnTo>
                    <a:lnTo>
                      <a:pt x="825" y="1298"/>
                    </a:lnTo>
                    <a:lnTo>
                      <a:pt x="806" y="1274"/>
                    </a:lnTo>
                    <a:lnTo>
                      <a:pt x="712" y="1274"/>
                    </a:lnTo>
                    <a:lnTo>
                      <a:pt x="699" y="1298"/>
                    </a:lnTo>
                    <a:lnTo>
                      <a:pt x="574" y="1302"/>
                    </a:lnTo>
                    <a:lnTo>
                      <a:pt x="504" y="1237"/>
                    </a:lnTo>
                    <a:lnTo>
                      <a:pt x="196" y="1241"/>
                    </a:lnTo>
                    <a:lnTo>
                      <a:pt x="131" y="1298"/>
                    </a:lnTo>
                    <a:lnTo>
                      <a:pt x="131" y="1396"/>
                    </a:lnTo>
                    <a:lnTo>
                      <a:pt x="65" y="1441"/>
                    </a:lnTo>
                    <a:lnTo>
                      <a:pt x="50" y="1424"/>
                    </a:lnTo>
                    <a:lnTo>
                      <a:pt x="18" y="1476"/>
                    </a:lnTo>
                    <a:lnTo>
                      <a:pt x="0" y="1604"/>
                    </a:lnTo>
                    <a:lnTo>
                      <a:pt x="196" y="1759"/>
                    </a:lnTo>
                    <a:lnTo>
                      <a:pt x="261" y="1763"/>
                    </a:lnTo>
                    <a:lnTo>
                      <a:pt x="313" y="1731"/>
                    </a:lnTo>
                    <a:lnTo>
                      <a:pt x="493" y="1731"/>
                    </a:lnTo>
                    <a:lnTo>
                      <a:pt x="521" y="1746"/>
                    </a:lnTo>
                    <a:lnTo>
                      <a:pt x="517" y="1802"/>
                    </a:lnTo>
                    <a:lnTo>
                      <a:pt x="582" y="1876"/>
                    </a:lnTo>
                    <a:lnTo>
                      <a:pt x="587" y="2120"/>
                    </a:lnTo>
                    <a:lnTo>
                      <a:pt x="658" y="2185"/>
                    </a:lnTo>
                    <a:lnTo>
                      <a:pt x="658" y="2381"/>
                    </a:lnTo>
                    <a:lnTo>
                      <a:pt x="712" y="2422"/>
                    </a:lnTo>
                    <a:lnTo>
                      <a:pt x="745" y="2398"/>
                    </a:lnTo>
                    <a:lnTo>
                      <a:pt x="821" y="2398"/>
                    </a:lnTo>
                    <a:lnTo>
                      <a:pt x="904" y="2324"/>
                    </a:lnTo>
                    <a:lnTo>
                      <a:pt x="947" y="2320"/>
                    </a:lnTo>
                    <a:lnTo>
                      <a:pt x="951" y="2250"/>
                    </a:lnTo>
                    <a:lnTo>
                      <a:pt x="1021" y="2244"/>
                    </a:lnTo>
                    <a:lnTo>
                      <a:pt x="1016" y="2157"/>
                    </a:lnTo>
                    <a:lnTo>
                      <a:pt x="1045" y="2161"/>
                    </a:lnTo>
                    <a:lnTo>
                      <a:pt x="1105" y="2104"/>
                    </a:lnTo>
                    <a:lnTo>
                      <a:pt x="1110" y="2011"/>
                    </a:lnTo>
                    <a:lnTo>
                      <a:pt x="1064" y="1974"/>
                    </a:lnTo>
                    <a:lnTo>
                      <a:pt x="1069" y="1885"/>
                    </a:lnTo>
                    <a:lnTo>
                      <a:pt x="1329" y="1644"/>
                    </a:lnTo>
                    <a:lnTo>
                      <a:pt x="1147" y="1644"/>
                    </a:lnTo>
                    <a:lnTo>
                      <a:pt x="1138" y="1522"/>
                    </a:lnTo>
                    <a:lnTo>
                      <a:pt x="1114" y="1494"/>
                    </a:lnTo>
                    <a:lnTo>
                      <a:pt x="1090" y="1502"/>
                    </a:lnTo>
                    <a:lnTo>
                      <a:pt x="932" y="1350"/>
                    </a:lnTo>
                    <a:lnTo>
                      <a:pt x="1008" y="1344"/>
                    </a:lnTo>
                    <a:lnTo>
                      <a:pt x="1105" y="1428"/>
                    </a:lnTo>
                    <a:lnTo>
                      <a:pt x="1223" y="1522"/>
                    </a:lnTo>
                    <a:lnTo>
                      <a:pt x="1227" y="1568"/>
                    </a:lnTo>
                    <a:lnTo>
                      <a:pt x="1362" y="1568"/>
                    </a:lnTo>
                    <a:lnTo>
                      <a:pt x="1357" y="1531"/>
                    </a:lnTo>
                    <a:lnTo>
                      <a:pt x="1479" y="1424"/>
                    </a:lnTo>
                    <a:lnTo>
                      <a:pt x="1370" y="1415"/>
                    </a:lnTo>
                    <a:lnTo>
                      <a:pt x="1342" y="1400"/>
                    </a:lnTo>
                    <a:lnTo>
                      <a:pt x="1320" y="1400"/>
                    </a:lnTo>
                    <a:lnTo>
                      <a:pt x="1227" y="1315"/>
                    </a:lnTo>
                    <a:lnTo>
                      <a:pt x="1268" y="1270"/>
                    </a:lnTo>
                    <a:lnTo>
                      <a:pt x="1320" y="1285"/>
                    </a:lnTo>
                    <a:lnTo>
                      <a:pt x="1394" y="1354"/>
                    </a:lnTo>
                    <a:lnTo>
                      <a:pt x="1642" y="1354"/>
                    </a:lnTo>
                    <a:lnTo>
                      <a:pt x="1711" y="1420"/>
                    </a:lnTo>
                    <a:lnTo>
                      <a:pt x="1722" y="1554"/>
                    </a:lnTo>
                    <a:lnTo>
                      <a:pt x="1833" y="1639"/>
                    </a:lnTo>
                    <a:lnTo>
                      <a:pt x="1917" y="1578"/>
                    </a:lnTo>
                    <a:lnTo>
                      <a:pt x="1913" y="1513"/>
                    </a:lnTo>
                    <a:lnTo>
                      <a:pt x="2006" y="1433"/>
                    </a:lnTo>
                    <a:lnTo>
                      <a:pt x="2080" y="1433"/>
                    </a:lnTo>
                    <a:lnTo>
                      <a:pt x="2165" y="1502"/>
                    </a:lnTo>
                    <a:lnTo>
                      <a:pt x="2243" y="1507"/>
                    </a:lnTo>
                    <a:lnTo>
                      <a:pt x="2243" y="1676"/>
                    </a:lnTo>
                    <a:lnTo>
                      <a:pt x="2319" y="1737"/>
                    </a:lnTo>
                    <a:lnTo>
                      <a:pt x="2336" y="1733"/>
                    </a:lnTo>
                    <a:lnTo>
                      <a:pt x="2365" y="1754"/>
                    </a:lnTo>
                    <a:lnTo>
                      <a:pt x="2380" y="1741"/>
                    </a:lnTo>
                    <a:lnTo>
                      <a:pt x="2276" y="1652"/>
                    </a:lnTo>
                    <a:lnTo>
                      <a:pt x="2276" y="1583"/>
                    </a:lnTo>
                    <a:lnTo>
                      <a:pt x="2291" y="1583"/>
                    </a:lnTo>
                    <a:lnTo>
                      <a:pt x="2373" y="1657"/>
                    </a:lnTo>
                    <a:lnTo>
                      <a:pt x="2397" y="1652"/>
                    </a:lnTo>
                    <a:lnTo>
                      <a:pt x="2425" y="1633"/>
                    </a:lnTo>
                    <a:lnTo>
                      <a:pt x="2454" y="1633"/>
                    </a:lnTo>
                    <a:lnTo>
                      <a:pt x="2449" y="1550"/>
                    </a:lnTo>
                    <a:lnTo>
                      <a:pt x="2393" y="1494"/>
                    </a:lnTo>
                    <a:lnTo>
                      <a:pt x="2380" y="1494"/>
                    </a:lnTo>
                    <a:lnTo>
                      <a:pt x="2347" y="1461"/>
                    </a:lnTo>
                    <a:lnTo>
                      <a:pt x="2336" y="1437"/>
                    </a:lnTo>
                    <a:lnTo>
                      <a:pt x="2402" y="1383"/>
                    </a:lnTo>
                    <a:lnTo>
                      <a:pt x="2510" y="1381"/>
                    </a:lnTo>
                    <a:lnTo>
                      <a:pt x="2621" y="1265"/>
                    </a:lnTo>
                    <a:lnTo>
                      <a:pt x="2621" y="1181"/>
                    </a:lnTo>
                    <a:lnTo>
                      <a:pt x="2588" y="1148"/>
                    </a:lnTo>
                    <a:lnTo>
                      <a:pt x="2523" y="1098"/>
                    </a:lnTo>
                    <a:lnTo>
                      <a:pt x="2547" y="1070"/>
                    </a:lnTo>
                    <a:lnTo>
                      <a:pt x="2532" y="1059"/>
                    </a:lnTo>
                    <a:lnTo>
                      <a:pt x="2515" y="1074"/>
                    </a:lnTo>
                    <a:lnTo>
                      <a:pt x="2473" y="1037"/>
                    </a:lnTo>
                    <a:lnTo>
                      <a:pt x="2458" y="1037"/>
                    </a:lnTo>
                    <a:lnTo>
                      <a:pt x="2454" y="1009"/>
                    </a:lnTo>
                    <a:lnTo>
                      <a:pt x="2543" y="948"/>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27" name="Freeform 10"/>
              <p:cNvSpPr>
                <a:spLocks/>
              </p:cNvSpPr>
              <p:nvPr/>
            </p:nvSpPr>
            <p:spPr bwMode="auto">
              <a:xfrm>
                <a:off x="5684890" y="4710819"/>
                <a:ext cx="205468" cy="316102"/>
              </a:xfrm>
              <a:custGeom>
                <a:avLst/>
                <a:gdLst/>
                <a:ahLst/>
                <a:cxnLst>
                  <a:cxn ang="0">
                    <a:pos x="4" y="220"/>
                  </a:cxn>
                  <a:cxn ang="0">
                    <a:pos x="0" y="168"/>
                  </a:cxn>
                  <a:cxn ang="0">
                    <a:pos x="28" y="146"/>
                  </a:cxn>
                  <a:cxn ang="0">
                    <a:pos x="33" y="52"/>
                  </a:cxn>
                  <a:cxn ang="0">
                    <a:pos x="70" y="54"/>
                  </a:cxn>
                  <a:cxn ang="0">
                    <a:pos x="137" y="0"/>
                  </a:cxn>
                  <a:cxn ang="0">
                    <a:pos x="143" y="41"/>
                  </a:cxn>
                  <a:cxn ang="0">
                    <a:pos x="96" y="94"/>
                  </a:cxn>
                  <a:cxn ang="0">
                    <a:pos x="87" y="152"/>
                  </a:cxn>
                  <a:cxn ang="0">
                    <a:pos x="63" y="159"/>
                  </a:cxn>
                  <a:cxn ang="0">
                    <a:pos x="41" y="176"/>
                  </a:cxn>
                  <a:cxn ang="0">
                    <a:pos x="39" y="215"/>
                  </a:cxn>
                  <a:cxn ang="0">
                    <a:pos x="4" y="220"/>
                  </a:cxn>
                </a:cxnLst>
                <a:rect l="0" t="0" r="r" b="b"/>
                <a:pathLst>
                  <a:path w="143" h="220">
                    <a:moveTo>
                      <a:pt x="4" y="220"/>
                    </a:moveTo>
                    <a:lnTo>
                      <a:pt x="0" y="168"/>
                    </a:lnTo>
                    <a:lnTo>
                      <a:pt x="28" y="146"/>
                    </a:lnTo>
                    <a:lnTo>
                      <a:pt x="33" y="52"/>
                    </a:lnTo>
                    <a:lnTo>
                      <a:pt x="70" y="54"/>
                    </a:lnTo>
                    <a:lnTo>
                      <a:pt x="137" y="0"/>
                    </a:lnTo>
                    <a:lnTo>
                      <a:pt x="143" y="41"/>
                    </a:lnTo>
                    <a:lnTo>
                      <a:pt x="96" y="94"/>
                    </a:lnTo>
                    <a:lnTo>
                      <a:pt x="87" y="152"/>
                    </a:lnTo>
                    <a:lnTo>
                      <a:pt x="63" y="159"/>
                    </a:lnTo>
                    <a:lnTo>
                      <a:pt x="41" y="176"/>
                    </a:lnTo>
                    <a:lnTo>
                      <a:pt x="39" y="215"/>
                    </a:lnTo>
                    <a:lnTo>
                      <a:pt x="4" y="220"/>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28" name="Freeform 11"/>
              <p:cNvSpPr>
                <a:spLocks/>
              </p:cNvSpPr>
              <p:nvPr/>
            </p:nvSpPr>
            <p:spPr bwMode="auto">
              <a:xfrm>
                <a:off x="7607380" y="4180629"/>
                <a:ext cx="221273" cy="280182"/>
              </a:xfrm>
              <a:custGeom>
                <a:avLst/>
                <a:gdLst/>
                <a:ahLst/>
                <a:cxnLst>
                  <a:cxn ang="0">
                    <a:pos x="0" y="108"/>
                  </a:cxn>
                  <a:cxn ang="0">
                    <a:pos x="65" y="106"/>
                  </a:cxn>
                  <a:cxn ang="0">
                    <a:pos x="73" y="0"/>
                  </a:cxn>
                  <a:cxn ang="0">
                    <a:pos x="149" y="2"/>
                  </a:cxn>
                  <a:cxn ang="0">
                    <a:pos x="154" y="67"/>
                  </a:cxn>
                  <a:cxn ang="0">
                    <a:pos x="121" y="91"/>
                  </a:cxn>
                  <a:cxn ang="0">
                    <a:pos x="125" y="113"/>
                  </a:cxn>
                  <a:cxn ang="0">
                    <a:pos x="143" y="113"/>
                  </a:cxn>
                  <a:cxn ang="0">
                    <a:pos x="65" y="191"/>
                  </a:cxn>
                  <a:cxn ang="0">
                    <a:pos x="0" y="195"/>
                  </a:cxn>
                  <a:cxn ang="0">
                    <a:pos x="0" y="108"/>
                  </a:cxn>
                </a:cxnLst>
                <a:rect l="0" t="0" r="r" b="b"/>
                <a:pathLst>
                  <a:path w="154" h="195">
                    <a:moveTo>
                      <a:pt x="0" y="108"/>
                    </a:moveTo>
                    <a:lnTo>
                      <a:pt x="65" y="106"/>
                    </a:lnTo>
                    <a:lnTo>
                      <a:pt x="73" y="0"/>
                    </a:lnTo>
                    <a:lnTo>
                      <a:pt x="149" y="2"/>
                    </a:lnTo>
                    <a:lnTo>
                      <a:pt x="154" y="67"/>
                    </a:lnTo>
                    <a:lnTo>
                      <a:pt x="121" y="91"/>
                    </a:lnTo>
                    <a:lnTo>
                      <a:pt x="125" y="113"/>
                    </a:lnTo>
                    <a:lnTo>
                      <a:pt x="143" y="113"/>
                    </a:lnTo>
                    <a:lnTo>
                      <a:pt x="65" y="191"/>
                    </a:lnTo>
                    <a:lnTo>
                      <a:pt x="0" y="195"/>
                    </a:lnTo>
                    <a:lnTo>
                      <a:pt x="0" y="108"/>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29" name="Freeform 12"/>
              <p:cNvSpPr>
                <a:spLocks/>
              </p:cNvSpPr>
              <p:nvPr/>
            </p:nvSpPr>
            <p:spPr bwMode="auto">
              <a:xfrm>
                <a:off x="7157650" y="4266839"/>
                <a:ext cx="474157" cy="443980"/>
              </a:xfrm>
              <a:custGeom>
                <a:avLst/>
                <a:gdLst/>
                <a:ahLst/>
                <a:cxnLst>
                  <a:cxn ang="0">
                    <a:pos x="0" y="0"/>
                  </a:cxn>
                  <a:cxn ang="0">
                    <a:pos x="165" y="150"/>
                  </a:cxn>
                  <a:cxn ang="0">
                    <a:pos x="163" y="216"/>
                  </a:cxn>
                  <a:cxn ang="0">
                    <a:pos x="263" y="220"/>
                  </a:cxn>
                  <a:cxn ang="0">
                    <a:pos x="330" y="283"/>
                  </a:cxn>
                  <a:cxn ang="0">
                    <a:pos x="319" y="309"/>
                  </a:cxn>
                  <a:cxn ang="0">
                    <a:pos x="263" y="263"/>
                  </a:cxn>
                  <a:cxn ang="0">
                    <a:pos x="163" y="259"/>
                  </a:cxn>
                  <a:cxn ang="0">
                    <a:pos x="61" y="166"/>
                  </a:cxn>
                  <a:cxn ang="0">
                    <a:pos x="56" y="113"/>
                  </a:cxn>
                  <a:cxn ang="0">
                    <a:pos x="0" y="57"/>
                  </a:cxn>
                  <a:cxn ang="0">
                    <a:pos x="0" y="0"/>
                  </a:cxn>
                </a:cxnLst>
                <a:rect l="0" t="0" r="r" b="b"/>
                <a:pathLst>
                  <a:path w="330" h="309">
                    <a:moveTo>
                      <a:pt x="0" y="0"/>
                    </a:moveTo>
                    <a:lnTo>
                      <a:pt x="165" y="150"/>
                    </a:lnTo>
                    <a:lnTo>
                      <a:pt x="163" y="216"/>
                    </a:lnTo>
                    <a:lnTo>
                      <a:pt x="263" y="220"/>
                    </a:lnTo>
                    <a:lnTo>
                      <a:pt x="330" y="283"/>
                    </a:lnTo>
                    <a:lnTo>
                      <a:pt x="319" y="309"/>
                    </a:lnTo>
                    <a:lnTo>
                      <a:pt x="263" y="263"/>
                    </a:lnTo>
                    <a:lnTo>
                      <a:pt x="163" y="259"/>
                    </a:lnTo>
                    <a:lnTo>
                      <a:pt x="61" y="166"/>
                    </a:lnTo>
                    <a:lnTo>
                      <a:pt x="56" y="113"/>
                    </a:lnTo>
                    <a:lnTo>
                      <a:pt x="0" y="57"/>
                    </a:lnTo>
                    <a:lnTo>
                      <a:pt x="0" y="0"/>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30" name="Freeform 13"/>
              <p:cNvSpPr>
                <a:spLocks/>
              </p:cNvSpPr>
              <p:nvPr/>
            </p:nvSpPr>
            <p:spPr bwMode="auto">
              <a:xfrm>
                <a:off x="8215162" y="4410522"/>
                <a:ext cx="426741" cy="281618"/>
              </a:xfrm>
              <a:custGeom>
                <a:avLst/>
                <a:gdLst/>
                <a:ahLst/>
                <a:cxnLst>
                  <a:cxn ang="0">
                    <a:pos x="4" y="5"/>
                  </a:cxn>
                  <a:cxn ang="0">
                    <a:pos x="50" y="0"/>
                  </a:cxn>
                  <a:cxn ang="0">
                    <a:pos x="52" y="46"/>
                  </a:cxn>
                  <a:cxn ang="0">
                    <a:pos x="139" y="46"/>
                  </a:cxn>
                  <a:cxn ang="0">
                    <a:pos x="165" y="29"/>
                  </a:cxn>
                  <a:cxn ang="0">
                    <a:pos x="297" y="144"/>
                  </a:cxn>
                  <a:cxn ang="0">
                    <a:pos x="280" y="196"/>
                  </a:cxn>
                  <a:cxn ang="0">
                    <a:pos x="219" y="135"/>
                  </a:cxn>
                  <a:cxn ang="0">
                    <a:pos x="178" y="172"/>
                  </a:cxn>
                  <a:cxn ang="0">
                    <a:pos x="119" y="116"/>
                  </a:cxn>
                  <a:cxn ang="0">
                    <a:pos x="121" y="83"/>
                  </a:cxn>
                  <a:cxn ang="0">
                    <a:pos x="87" y="90"/>
                  </a:cxn>
                  <a:cxn ang="0">
                    <a:pos x="0" y="31"/>
                  </a:cxn>
                  <a:cxn ang="0">
                    <a:pos x="4" y="5"/>
                  </a:cxn>
                </a:cxnLst>
                <a:rect l="0" t="0" r="r" b="b"/>
                <a:pathLst>
                  <a:path w="297" h="196">
                    <a:moveTo>
                      <a:pt x="4" y="5"/>
                    </a:moveTo>
                    <a:lnTo>
                      <a:pt x="50" y="0"/>
                    </a:lnTo>
                    <a:lnTo>
                      <a:pt x="52" y="46"/>
                    </a:lnTo>
                    <a:lnTo>
                      <a:pt x="139" y="46"/>
                    </a:lnTo>
                    <a:lnTo>
                      <a:pt x="165" y="29"/>
                    </a:lnTo>
                    <a:lnTo>
                      <a:pt x="297" y="144"/>
                    </a:lnTo>
                    <a:lnTo>
                      <a:pt x="280" y="196"/>
                    </a:lnTo>
                    <a:lnTo>
                      <a:pt x="219" y="135"/>
                    </a:lnTo>
                    <a:lnTo>
                      <a:pt x="178" y="172"/>
                    </a:lnTo>
                    <a:lnTo>
                      <a:pt x="119" y="116"/>
                    </a:lnTo>
                    <a:lnTo>
                      <a:pt x="121" y="83"/>
                    </a:lnTo>
                    <a:lnTo>
                      <a:pt x="87" y="90"/>
                    </a:lnTo>
                    <a:lnTo>
                      <a:pt x="0" y="31"/>
                    </a:lnTo>
                    <a:lnTo>
                      <a:pt x="4" y="5"/>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31" name="Freeform 14"/>
              <p:cNvSpPr>
                <a:spLocks/>
              </p:cNvSpPr>
              <p:nvPr/>
            </p:nvSpPr>
            <p:spPr bwMode="auto">
              <a:xfrm>
                <a:off x="7482375" y="4769729"/>
                <a:ext cx="1201197" cy="824740"/>
              </a:xfrm>
              <a:custGeom>
                <a:avLst/>
                <a:gdLst/>
                <a:ahLst/>
                <a:cxnLst>
                  <a:cxn ang="0">
                    <a:pos x="117" y="144"/>
                  </a:cxn>
                  <a:cxn ang="0">
                    <a:pos x="223" y="144"/>
                  </a:cxn>
                  <a:cxn ang="0">
                    <a:pos x="360" y="29"/>
                  </a:cxn>
                  <a:cxn ang="0">
                    <a:pos x="414" y="72"/>
                  </a:cxn>
                  <a:cxn ang="0">
                    <a:pos x="503" y="0"/>
                  </a:cxn>
                  <a:cxn ang="0">
                    <a:pos x="562" y="0"/>
                  </a:cxn>
                  <a:cxn ang="0">
                    <a:pos x="532" y="42"/>
                  </a:cxn>
                  <a:cxn ang="0">
                    <a:pos x="629" y="109"/>
                  </a:cxn>
                  <a:cxn ang="0">
                    <a:pos x="716" y="50"/>
                  </a:cxn>
                  <a:cxn ang="0">
                    <a:pos x="720" y="155"/>
                  </a:cxn>
                  <a:cxn ang="0">
                    <a:pos x="775" y="203"/>
                  </a:cxn>
                  <a:cxn ang="0">
                    <a:pos x="775" y="246"/>
                  </a:cxn>
                  <a:cxn ang="0">
                    <a:pos x="831" y="285"/>
                  </a:cxn>
                  <a:cxn ang="0">
                    <a:pos x="836" y="398"/>
                  </a:cxn>
                  <a:cxn ang="0">
                    <a:pos x="677" y="535"/>
                  </a:cxn>
                  <a:cxn ang="0">
                    <a:pos x="649" y="540"/>
                  </a:cxn>
                  <a:cxn ang="0">
                    <a:pos x="614" y="572"/>
                  </a:cxn>
                  <a:cxn ang="0">
                    <a:pos x="555" y="574"/>
                  </a:cxn>
                  <a:cxn ang="0">
                    <a:pos x="549" y="563"/>
                  </a:cxn>
                  <a:cxn ang="0">
                    <a:pos x="425" y="559"/>
                  </a:cxn>
                  <a:cxn ang="0">
                    <a:pos x="430" y="529"/>
                  </a:cxn>
                  <a:cxn ang="0">
                    <a:pos x="343" y="466"/>
                  </a:cxn>
                  <a:cxn ang="0">
                    <a:pos x="362" y="431"/>
                  </a:cxn>
                  <a:cxn ang="0">
                    <a:pos x="362" y="411"/>
                  </a:cxn>
                  <a:cxn ang="0">
                    <a:pos x="328" y="392"/>
                  </a:cxn>
                  <a:cxn ang="0">
                    <a:pos x="297" y="392"/>
                  </a:cxn>
                  <a:cxn ang="0">
                    <a:pos x="252" y="437"/>
                  </a:cxn>
                  <a:cxn ang="0">
                    <a:pos x="41" y="444"/>
                  </a:cxn>
                  <a:cxn ang="0">
                    <a:pos x="0" y="396"/>
                  </a:cxn>
                  <a:cxn ang="0">
                    <a:pos x="19" y="368"/>
                  </a:cxn>
                  <a:cxn ang="0">
                    <a:pos x="30" y="224"/>
                  </a:cxn>
                  <a:cxn ang="0">
                    <a:pos x="117" y="144"/>
                  </a:cxn>
                </a:cxnLst>
                <a:rect l="0" t="0" r="r" b="b"/>
                <a:pathLst>
                  <a:path w="836" h="574">
                    <a:moveTo>
                      <a:pt x="117" y="144"/>
                    </a:moveTo>
                    <a:lnTo>
                      <a:pt x="223" y="144"/>
                    </a:lnTo>
                    <a:lnTo>
                      <a:pt x="360" y="29"/>
                    </a:lnTo>
                    <a:lnTo>
                      <a:pt x="414" y="72"/>
                    </a:lnTo>
                    <a:lnTo>
                      <a:pt x="503" y="0"/>
                    </a:lnTo>
                    <a:lnTo>
                      <a:pt x="562" y="0"/>
                    </a:lnTo>
                    <a:lnTo>
                      <a:pt x="532" y="42"/>
                    </a:lnTo>
                    <a:lnTo>
                      <a:pt x="629" y="109"/>
                    </a:lnTo>
                    <a:lnTo>
                      <a:pt x="716" y="50"/>
                    </a:lnTo>
                    <a:lnTo>
                      <a:pt x="720" y="155"/>
                    </a:lnTo>
                    <a:lnTo>
                      <a:pt x="775" y="203"/>
                    </a:lnTo>
                    <a:lnTo>
                      <a:pt x="775" y="246"/>
                    </a:lnTo>
                    <a:lnTo>
                      <a:pt x="831" y="285"/>
                    </a:lnTo>
                    <a:lnTo>
                      <a:pt x="836" y="398"/>
                    </a:lnTo>
                    <a:lnTo>
                      <a:pt x="677" y="535"/>
                    </a:lnTo>
                    <a:lnTo>
                      <a:pt x="649" y="540"/>
                    </a:lnTo>
                    <a:lnTo>
                      <a:pt x="614" y="572"/>
                    </a:lnTo>
                    <a:lnTo>
                      <a:pt x="555" y="574"/>
                    </a:lnTo>
                    <a:lnTo>
                      <a:pt x="549" y="563"/>
                    </a:lnTo>
                    <a:lnTo>
                      <a:pt x="425" y="559"/>
                    </a:lnTo>
                    <a:lnTo>
                      <a:pt x="430" y="529"/>
                    </a:lnTo>
                    <a:lnTo>
                      <a:pt x="343" y="466"/>
                    </a:lnTo>
                    <a:lnTo>
                      <a:pt x="362" y="431"/>
                    </a:lnTo>
                    <a:lnTo>
                      <a:pt x="362" y="411"/>
                    </a:lnTo>
                    <a:lnTo>
                      <a:pt x="328" y="392"/>
                    </a:lnTo>
                    <a:lnTo>
                      <a:pt x="297" y="392"/>
                    </a:lnTo>
                    <a:lnTo>
                      <a:pt x="252" y="437"/>
                    </a:lnTo>
                    <a:lnTo>
                      <a:pt x="41" y="444"/>
                    </a:lnTo>
                    <a:lnTo>
                      <a:pt x="0" y="396"/>
                    </a:lnTo>
                    <a:lnTo>
                      <a:pt x="19" y="368"/>
                    </a:lnTo>
                    <a:lnTo>
                      <a:pt x="30" y="224"/>
                    </a:lnTo>
                    <a:lnTo>
                      <a:pt x="117" y="144"/>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32" name="Freeform 19"/>
              <p:cNvSpPr>
                <a:spLocks/>
              </p:cNvSpPr>
              <p:nvPr/>
            </p:nvSpPr>
            <p:spPr bwMode="auto">
              <a:xfrm>
                <a:off x="8058547" y="2920530"/>
                <a:ext cx="265815" cy="337655"/>
              </a:xfrm>
              <a:custGeom>
                <a:avLst/>
                <a:gdLst/>
                <a:ahLst/>
                <a:cxnLst>
                  <a:cxn ang="0">
                    <a:pos x="0" y="218"/>
                  </a:cxn>
                  <a:cxn ang="0">
                    <a:pos x="9" y="235"/>
                  </a:cxn>
                  <a:cxn ang="0">
                    <a:pos x="68" y="200"/>
                  </a:cxn>
                  <a:cxn ang="0">
                    <a:pos x="74" y="229"/>
                  </a:cxn>
                  <a:cxn ang="0">
                    <a:pos x="165" y="161"/>
                  </a:cxn>
                  <a:cxn ang="0">
                    <a:pos x="168" y="96"/>
                  </a:cxn>
                  <a:cxn ang="0">
                    <a:pos x="185" y="46"/>
                  </a:cxn>
                  <a:cxn ang="0">
                    <a:pos x="161" y="0"/>
                  </a:cxn>
                  <a:cxn ang="0">
                    <a:pos x="141" y="3"/>
                  </a:cxn>
                  <a:cxn ang="0">
                    <a:pos x="133" y="87"/>
                  </a:cxn>
                  <a:cxn ang="0">
                    <a:pos x="96" y="113"/>
                  </a:cxn>
                  <a:cxn ang="0">
                    <a:pos x="76" y="161"/>
                  </a:cxn>
                  <a:cxn ang="0">
                    <a:pos x="26" y="179"/>
                  </a:cxn>
                  <a:cxn ang="0">
                    <a:pos x="3" y="207"/>
                  </a:cxn>
                </a:cxnLst>
                <a:rect l="0" t="0" r="r" b="b"/>
                <a:pathLst>
                  <a:path w="185" h="235">
                    <a:moveTo>
                      <a:pt x="0" y="218"/>
                    </a:moveTo>
                    <a:lnTo>
                      <a:pt x="9" y="235"/>
                    </a:lnTo>
                    <a:lnTo>
                      <a:pt x="68" y="200"/>
                    </a:lnTo>
                    <a:lnTo>
                      <a:pt x="74" y="229"/>
                    </a:lnTo>
                    <a:lnTo>
                      <a:pt x="165" y="161"/>
                    </a:lnTo>
                    <a:lnTo>
                      <a:pt x="168" y="96"/>
                    </a:lnTo>
                    <a:lnTo>
                      <a:pt x="185" y="46"/>
                    </a:lnTo>
                    <a:lnTo>
                      <a:pt x="161" y="0"/>
                    </a:lnTo>
                    <a:lnTo>
                      <a:pt x="141" y="3"/>
                    </a:lnTo>
                    <a:lnTo>
                      <a:pt x="133" y="87"/>
                    </a:lnTo>
                    <a:lnTo>
                      <a:pt x="96" y="113"/>
                    </a:lnTo>
                    <a:lnTo>
                      <a:pt x="76" y="161"/>
                    </a:lnTo>
                    <a:lnTo>
                      <a:pt x="26" y="179"/>
                    </a:lnTo>
                    <a:lnTo>
                      <a:pt x="3" y="207"/>
                    </a:lnTo>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33" name="Freeform 21"/>
              <p:cNvSpPr>
                <a:spLocks/>
              </p:cNvSpPr>
              <p:nvPr/>
            </p:nvSpPr>
            <p:spPr bwMode="auto">
              <a:xfrm>
                <a:off x="8242462" y="2720811"/>
                <a:ext cx="156615" cy="172419"/>
              </a:xfrm>
              <a:custGeom>
                <a:avLst/>
                <a:gdLst/>
                <a:ahLst/>
                <a:cxnLst>
                  <a:cxn ang="0">
                    <a:pos x="11" y="120"/>
                  </a:cxn>
                  <a:cxn ang="0">
                    <a:pos x="29" y="113"/>
                  </a:cxn>
                  <a:cxn ang="0">
                    <a:pos x="40" y="87"/>
                  </a:cxn>
                  <a:cxn ang="0">
                    <a:pos x="68" y="109"/>
                  </a:cxn>
                  <a:cxn ang="0">
                    <a:pos x="79" y="81"/>
                  </a:cxn>
                  <a:cxn ang="0">
                    <a:pos x="109" y="72"/>
                  </a:cxn>
                  <a:cxn ang="0">
                    <a:pos x="100" y="37"/>
                  </a:cxn>
                  <a:cxn ang="0">
                    <a:pos x="79" y="39"/>
                  </a:cxn>
                  <a:cxn ang="0">
                    <a:pos x="31" y="0"/>
                  </a:cxn>
                  <a:cxn ang="0">
                    <a:pos x="31" y="63"/>
                  </a:cxn>
                  <a:cxn ang="0">
                    <a:pos x="16" y="83"/>
                  </a:cxn>
                  <a:cxn ang="0">
                    <a:pos x="0" y="102"/>
                  </a:cxn>
                  <a:cxn ang="0">
                    <a:pos x="11" y="120"/>
                  </a:cxn>
                </a:cxnLst>
                <a:rect l="0" t="0" r="r" b="b"/>
                <a:pathLst>
                  <a:path w="109" h="120">
                    <a:moveTo>
                      <a:pt x="11" y="120"/>
                    </a:moveTo>
                    <a:lnTo>
                      <a:pt x="29" y="113"/>
                    </a:lnTo>
                    <a:lnTo>
                      <a:pt x="40" y="87"/>
                    </a:lnTo>
                    <a:lnTo>
                      <a:pt x="68" y="109"/>
                    </a:lnTo>
                    <a:lnTo>
                      <a:pt x="79" y="81"/>
                    </a:lnTo>
                    <a:lnTo>
                      <a:pt x="109" y="72"/>
                    </a:lnTo>
                    <a:lnTo>
                      <a:pt x="100" y="37"/>
                    </a:lnTo>
                    <a:lnTo>
                      <a:pt x="79" y="39"/>
                    </a:lnTo>
                    <a:lnTo>
                      <a:pt x="31" y="0"/>
                    </a:lnTo>
                    <a:lnTo>
                      <a:pt x="31" y="63"/>
                    </a:lnTo>
                    <a:lnTo>
                      <a:pt x="16" y="83"/>
                    </a:lnTo>
                    <a:lnTo>
                      <a:pt x="0" y="102"/>
                    </a:lnTo>
                    <a:lnTo>
                      <a:pt x="11" y="120"/>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34" name="Freeform 23"/>
              <p:cNvSpPr>
                <a:spLocks/>
              </p:cNvSpPr>
              <p:nvPr/>
            </p:nvSpPr>
            <p:spPr bwMode="auto">
              <a:xfrm>
                <a:off x="8982434" y="5689300"/>
                <a:ext cx="250010" cy="264377"/>
              </a:xfrm>
              <a:custGeom>
                <a:avLst/>
                <a:gdLst/>
                <a:ahLst/>
                <a:cxnLst>
                  <a:cxn ang="0">
                    <a:pos x="0" y="176"/>
                  </a:cxn>
                  <a:cxn ang="0">
                    <a:pos x="56" y="184"/>
                  </a:cxn>
                  <a:cxn ang="0">
                    <a:pos x="74" y="167"/>
                  </a:cxn>
                  <a:cxn ang="0">
                    <a:pos x="115" y="97"/>
                  </a:cxn>
                  <a:cxn ang="0">
                    <a:pos x="145" y="97"/>
                  </a:cxn>
                  <a:cxn ang="0">
                    <a:pos x="145" y="80"/>
                  </a:cxn>
                  <a:cxn ang="0">
                    <a:pos x="174" y="47"/>
                  </a:cxn>
                  <a:cxn ang="0">
                    <a:pos x="167" y="19"/>
                  </a:cxn>
                  <a:cxn ang="0">
                    <a:pos x="148" y="17"/>
                  </a:cxn>
                  <a:cxn ang="0">
                    <a:pos x="139" y="0"/>
                  </a:cxn>
                  <a:cxn ang="0">
                    <a:pos x="128" y="4"/>
                  </a:cxn>
                  <a:cxn ang="0">
                    <a:pos x="119" y="39"/>
                  </a:cxn>
                  <a:cxn ang="0">
                    <a:pos x="80" y="84"/>
                  </a:cxn>
                  <a:cxn ang="0">
                    <a:pos x="50" y="93"/>
                  </a:cxn>
                  <a:cxn ang="0">
                    <a:pos x="2" y="137"/>
                  </a:cxn>
                  <a:cxn ang="0">
                    <a:pos x="0" y="176"/>
                  </a:cxn>
                </a:cxnLst>
                <a:rect l="0" t="0" r="r" b="b"/>
                <a:pathLst>
                  <a:path w="174" h="184">
                    <a:moveTo>
                      <a:pt x="0" y="176"/>
                    </a:moveTo>
                    <a:lnTo>
                      <a:pt x="56" y="184"/>
                    </a:lnTo>
                    <a:lnTo>
                      <a:pt x="74" y="167"/>
                    </a:lnTo>
                    <a:lnTo>
                      <a:pt x="115" y="97"/>
                    </a:lnTo>
                    <a:lnTo>
                      <a:pt x="145" y="97"/>
                    </a:lnTo>
                    <a:lnTo>
                      <a:pt x="145" y="80"/>
                    </a:lnTo>
                    <a:lnTo>
                      <a:pt x="174" y="47"/>
                    </a:lnTo>
                    <a:lnTo>
                      <a:pt x="167" y="19"/>
                    </a:lnTo>
                    <a:lnTo>
                      <a:pt x="148" y="17"/>
                    </a:lnTo>
                    <a:lnTo>
                      <a:pt x="139" y="0"/>
                    </a:lnTo>
                    <a:lnTo>
                      <a:pt x="128" y="4"/>
                    </a:lnTo>
                    <a:lnTo>
                      <a:pt x="119" y="39"/>
                    </a:lnTo>
                    <a:lnTo>
                      <a:pt x="80" y="84"/>
                    </a:lnTo>
                    <a:lnTo>
                      <a:pt x="50" y="93"/>
                    </a:lnTo>
                    <a:lnTo>
                      <a:pt x="2" y="137"/>
                    </a:lnTo>
                    <a:lnTo>
                      <a:pt x="0" y="176"/>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35" name="Freeform 24"/>
              <p:cNvSpPr>
                <a:spLocks/>
              </p:cNvSpPr>
              <p:nvPr/>
            </p:nvSpPr>
            <p:spPr bwMode="auto">
              <a:xfrm>
                <a:off x="9209454" y="5482396"/>
                <a:ext cx="159489" cy="260066"/>
              </a:xfrm>
              <a:custGeom>
                <a:avLst/>
                <a:gdLst/>
                <a:ahLst/>
                <a:cxnLst>
                  <a:cxn ang="0">
                    <a:pos x="9" y="135"/>
                  </a:cxn>
                  <a:cxn ang="0">
                    <a:pos x="31" y="139"/>
                  </a:cxn>
                  <a:cxn ang="0">
                    <a:pos x="33" y="172"/>
                  </a:cxn>
                  <a:cxn ang="0">
                    <a:pos x="44" y="181"/>
                  </a:cxn>
                  <a:cxn ang="0">
                    <a:pos x="111" y="109"/>
                  </a:cxn>
                  <a:cxn ang="0">
                    <a:pos x="98" y="76"/>
                  </a:cxn>
                  <a:cxn ang="0">
                    <a:pos x="79" y="85"/>
                  </a:cxn>
                  <a:cxn ang="0">
                    <a:pos x="57" y="52"/>
                  </a:cxn>
                  <a:cxn ang="0">
                    <a:pos x="42" y="52"/>
                  </a:cxn>
                  <a:cxn ang="0">
                    <a:pos x="35" y="26"/>
                  </a:cxn>
                  <a:cxn ang="0">
                    <a:pos x="7" y="0"/>
                  </a:cxn>
                  <a:cxn ang="0">
                    <a:pos x="0" y="28"/>
                  </a:cxn>
                  <a:cxn ang="0">
                    <a:pos x="22" y="54"/>
                  </a:cxn>
                  <a:cxn ang="0">
                    <a:pos x="35" y="87"/>
                  </a:cxn>
                  <a:cxn ang="0">
                    <a:pos x="31" y="104"/>
                  </a:cxn>
                  <a:cxn ang="0">
                    <a:pos x="9" y="109"/>
                  </a:cxn>
                  <a:cxn ang="0">
                    <a:pos x="9" y="135"/>
                  </a:cxn>
                </a:cxnLst>
                <a:rect l="0" t="0" r="r" b="b"/>
                <a:pathLst>
                  <a:path w="111" h="181">
                    <a:moveTo>
                      <a:pt x="9" y="135"/>
                    </a:moveTo>
                    <a:lnTo>
                      <a:pt x="31" y="139"/>
                    </a:lnTo>
                    <a:lnTo>
                      <a:pt x="33" y="172"/>
                    </a:lnTo>
                    <a:lnTo>
                      <a:pt x="44" y="181"/>
                    </a:lnTo>
                    <a:lnTo>
                      <a:pt x="111" y="109"/>
                    </a:lnTo>
                    <a:lnTo>
                      <a:pt x="98" y="76"/>
                    </a:lnTo>
                    <a:lnTo>
                      <a:pt x="79" y="85"/>
                    </a:lnTo>
                    <a:lnTo>
                      <a:pt x="57" y="52"/>
                    </a:lnTo>
                    <a:lnTo>
                      <a:pt x="42" y="52"/>
                    </a:lnTo>
                    <a:lnTo>
                      <a:pt x="35" y="26"/>
                    </a:lnTo>
                    <a:lnTo>
                      <a:pt x="7" y="0"/>
                    </a:lnTo>
                    <a:lnTo>
                      <a:pt x="0" y="28"/>
                    </a:lnTo>
                    <a:lnTo>
                      <a:pt x="22" y="54"/>
                    </a:lnTo>
                    <a:lnTo>
                      <a:pt x="35" y="87"/>
                    </a:lnTo>
                    <a:lnTo>
                      <a:pt x="31" y="104"/>
                    </a:lnTo>
                    <a:lnTo>
                      <a:pt x="9" y="109"/>
                    </a:lnTo>
                    <a:lnTo>
                      <a:pt x="9" y="135"/>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36" name="Freeform 15"/>
              <p:cNvSpPr>
                <a:spLocks/>
              </p:cNvSpPr>
              <p:nvPr/>
            </p:nvSpPr>
            <p:spPr bwMode="auto">
              <a:xfrm>
                <a:off x="4393173" y="2855873"/>
                <a:ext cx="130752" cy="247135"/>
              </a:xfrm>
              <a:custGeom>
                <a:avLst/>
                <a:gdLst/>
                <a:ahLst/>
                <a:cxnLst>
                  <a:cxn ang="0">
                    <a:pos x="35" y="172"/>
                  </a:cxn>
                  <a:cxn ang="0">
                    <a:pos x="91" y="154"/>
                  </a:cxn>
                  <a:cxn ang="0">
                    <a:pos x="55" y="50"/>
                  </a:cxn>
                  <a:cxn ang="0">
                    <a:pos x="72" y="17"/>
                  </a:cxn>
                  <a:cxn ang="0">
                    <a:pos x="46" y="24"/>
                  </a:cxn>
                  <a:cxn ang="0">
                    <a:pos x="55" y="2"/>
                  </a:cxn>
                  <a:cxn ang="0">
                    <a:pos x="22" y="0"/>
                  </a:cxn>
                  <a:cxn ang="0">
                    <a:pos x="22" y="58"/>
                  </a:cxn>
                  <a:cxn ang="0">
                    <a:pos x="35" y="85"/>
                  </a:cxn>
                  <a:cxn ang="0">
                    <a:pos x="11" y="128"/>
                  </a:cxn>
                  <a:cxn ang="0">
                    <a:pos x="31" y="137"/>
                  </a:cxn>
                  <a:cxn ang="0">
                    <a:pos x="0" y="172"/>
                  </a:cxn>
                  <a:cxn ang="0">
                    <a:pos x="35" y="172"/>
                  </a:cxn>
                </a:cxnLst>
                <a:rect l="0" t="0" r="r" b="b"/>
                <a:pathLst>
                  <a:path w="91" h="172">
                    <a:moveTo>
                      <a:pt x="35" y="172"/>
                    </a:moveTo>
                    <a:lnTo>
                      <a:pt x="91" y="154"/>
                    </a:lnTo>
                    <a:lnTo>
                      <a:pt x="55" y="50"/>
                    </a:lnTo>
                    <a:lnTo>
                      <a:pt x="72" y="17"/>
                    </a:lnTo>
                    <a:lnTo>
                      <a:pt x="46" y="24"/>
                    </a:lnTo>
                    <a:lnTo>
                      <a:pt x="55" y="2"/>
                    </a:lnTo>
                    <a:lnTo>
                      <a:pt x="22" y="0"/>
                    </a:lnTo>
                    <a:lnTo>
                      <a:pt x="22" y="58"/>
                    </a:lnTo>
                    <a:lnTo>
                      <a:pt x="35" y="85"/>
                    </a:lnTo>
                    <a:lnTo>
                      <a:pt x="11" y="128"/>
                    </a:lnTo>
                    <a:lnTo>
                      <a:pt x="31" y="137"/>
                    </a:lnTo>
                    <a:lnTo>
                      <a:pt x="0" y="172"/>
                    </a:lnTo>
                    <a:lnTo>
                      <a:pt x="35" y="172"/>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37" name="Freeform 16"/>
              <p:cNvSpPr>
                <a:spLocks/>
              </p:cNvSpPr>
              <p:nvPr/>
            </p:nvSpPr>
            <p:spPr bwMode="auto">
              <a:xfrm>
                <a:off x="4299778" y="2978003"/>
                <a:ext cx="93394" cy="90520"/>
              </a:xfrm>
              <a:custGeom>
                <a:avLst/>
                <a:gdLst/>
                <a:ahLst/>
                <a:cxnLst>
                  <a:cxn ang="0">
                    <a:pos x="48" y="8"/>
                  </a:cxn>
                  <a:cxn ang="0">
                    <a:pos x="65" y="21"/>
                  </a:cxn>
                  <a:cxn ang="0">
                    <a:pos x="52" y="56"/>
                  </a:cxn>
                  <a:cxn ang="0">
                    <a:pos x="7" y="63"/>
                  </a:cxn>
                  <a:cxn ang="0">
                    <a:pos x="2" y="45"/>
                  </a:cxn>
                  <a:cxn ang="0">
                    <a:pos x="11" y="39"/>
                  </a:cxn>
                  <a:cxn ang="0">
                    <a:pos x="0" y="32"/>
                  </a:cxn>
                  <a:cxn ang="0">
                    <a:pos x="2" y="15"/>
                  </a:cxn>
                  <a:cxn ang="0">
                    <a:pos x="17" y="15"/>
                  </a:cxn>
                  <a:cxn ang="0">
                    <a:pos x="26" y="2"/>
                  </a:cxn>
                  <a:cxn ang="0">
                    <a:pos x="41" y="0"/>
                  </a:cxn>
                  <a:cxn ang="0">
                    <a:pos x="48" y="8"/>
                  </a:cxn>
                </a:cxnLst>
                <a:rect l="0" t="0" r="r" b="b"/>
                <a:pathLst>
                  <a:path w="65" h="63">
                    <a:moveTo>
                      <a:pt x="48" y="8"/>
                    </a:moveTo>
                    <a:lnTo>
                      <a:pt x="65" y="21"/>
                    </a:lnTo>
                    <a:lnTo>
                      <a:pt x="52" y="56"/>
                    </a:lnTo>
                    <a:lnTo>
                      <a:pt x="7" y="63"/>
                    </a:lnTo>
                    <a:lnTo>
                      <a:pt x="2" y="45"/>
                    </a:lnTo>
                    <a:lnTo>
                      <a:pt x="11" y="39"/>
                    </a:lnTo>
                    <a:lnTo>
                      <a:pt x="0" y="32"/>
                    </a:lnTo>
                    <a:lnTo>
                      <a:pt x="2" y="15"/>
                    </a:lnTo>
                    <a:lnTo>
                      <a:pt x="17" y="15"/>
                    </a:lnTo>
                    <a:lnTo>
                      <a:pt x="26" y="2"/>
                    </a:lnTo>
                    <a:lnTo>
                      <a:pt x="41" y="0"/>
                    </a:lnTo>
                    <a:lnTo>
                      <a:pt x="48" y="8"/>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38" name="Freeform 18"/>
              <p:cNvSpPr>
                <a:spLocks/>
              </p:cNvSpPr>
              <p:nvPr/>
            </p:nvSpPr>
            <p:spPr bwMode="auto">
              <a:xfrm>
                <a:off x="7794169" y="3870274"/>
                <a:ext cx="117821" cy="175293"/>
              </a:xfrm>
              <a:custGeom>
                <a:avLst/>
                <a:gdLst/>
                <a:ahLst/>
                <a:cxnLst>
                  <a:cxn ang="0">
                    <a:pos x="0" y="0"/>
                  </a:cxn>
                  <a:cxn ang="0">
                    <a:pos x="39" y="0"/>
                  </a:cxn>
                  <a:cxn ang="0">
                    <a:pos x="41" y="33"/>
                  </a:cxn>
                  <a:cxn ang="0">
                    <a:pos x="43" y="59"/>
                  </a:cxn>
                  <a:cxn ang="0">
                    <a:pos x="71" y="74"/>
                  </a:cxn>
                  <a:cxn ang="0">
                    <a:pos x="82" y="96"/>
                  </a:cxn>
                  <a:cxn ang="0">
                    <a:pos x="69" y="122"/>
                  </a:cxn>
                  <a:cxn ang="0">
                    <a:pos x="35" y="118"/>
                  </a:cxn>
                  <a:cxn ang="0">
                    <a:pos x="13" y="96"/>
                  </a:cxn>
                  <a:cxn ang="0">
                    <a:pos x="35" y="87"/>
                  </a:cxn>
                  <a:cxn ang="0">
                    <a:pos x="32" y="63"/>
                  </a:cxn>
                  <a:cxn ang="0">
                    <a:pos x="11" y="48"/>
                  </a:cxn>
                  <a:cxn ang="0">
                    <a:pos x="0" y="0"/>
                  </a:cxn>
                </a:cxnLst>
                <a:rect l="0" t="0" r="r" b="b"/>
                <a:pathLst>
                  <a:path w="82" h="122">
                    <a:moveTo>
                      <a:pt x="0" y="0"/>
                    </a:moveTo>
                    <a:lnTo>
                      <a:pt x="39" y="0"/>
                    </a:lnTo>
                    <a:lnTo>
                      <a:pt x="41" y="33"/>
                    </a:lnTo>
                    <a:lnTo>
                      <a:pt x="43" y="59"/>
                    </a:lnTo>
                    <a:lnTo>
                      <a:pt x="71" y="74"/>
                    </a:lnTo>
                    <a:lnTo>
                      <a:pt x="82" y="96"/>
                    </a:lnTo>
                    <a:lnTo>
                      <a:pt x="69" y="122"/>
                    </a:lnTo>
                    <a:lnTo>
                      <a:pt x="35" y="118"/>
                    </a:lnTo>
                    <a:lnTo>
                      <a:pt x="13" y="96"/>
                    </a:lnTo>
                    <a:lnTo>
                      <a:pt x="35" y="87"/>
                    </a:lnTo>
                    <a:lnTo>
                      <a:pt x="32" y="63"/>
                    </a:lnTo>
                    <a:lnTo>
                      <a:pt x="11" y="48"/>
                    </a:lnTo>
                    <a:lnTo>
                      <a:pt x="0" y="0"/>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39" name="Freeform 17"/>
              <p:cNvSpPr>
                <a:spLocks/>
              </p:cNvSpPr>
              <p:nvPr/>
            </p:nvSpPr>
            <p:spPr bwMode="auto">
              <a:xfrm>
                <a:off x="7719453" y="3670555"/>
                <a:ext cx="74716" cy="66094"/>
              </a:xfrm>
              <a:custGeom>
                <a:avLst/>
                <a:gdLst/>
                <a:ahLst/>
                <a:cxnLst>
                  <a:cxn ang="0">
                    <a:pos x="21" y="0"/>
                  </a:cxn>
                  <a:cxn ang="0">
                    <a:pos x="0" y="37"/>
                  </a:cxn>
                  <a:cxn ang="0">
                    <a:pos x="26" y="46"/>
                  </a:cxn>
                  <a:cxn ang="0">
                    <a:pos x="52" y="41"/>
                  </a:cxn>
                  <a:cxn ang="0">
                    <a:pos x="21" y="0"/>
                  </a:cxn>
                </a:cxnLst>
                <a:rect l="0" t="0" r="r" b="b"/>
                <a:pathLst>
                  <a:path w="52" h="46">
                    <a:moveTo>
                      <a:pt x="21" y="0"/>
                    </a:moveTo>
                    <a:lnTo>
                      <a:pt x="0" y="37"/>
                    </a:lnTo>
                    <a:lnTo>
                      <a:pt x="26" y="46"/>
                    </a:lnTo>
                    <a:lnTo>
                      <a:pt x="52" y="41"/>
                    </a:lnTo>
                    <a:lnTo>
                      <a:pt x="21" y="0"/>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40" name="Freeform 20"/>
              <p:cNvSpPr>
                <a:spLocks/>
              </p:cNvSpPr>
              <p:nvPr/>
            </p:nvSpPr>
            <p:spPr bwMode="auto">
              <a:xfrm>
                <a:off x="8009695" y="3258185"/>
                <a:ext cx="58910" cy="103452"/>
              </a:xfrm>
              <a:custGeom>
                <a:avLst/>
                <a:gdLst/>
                <a:ahLst/>
                <a:cxnLst>
                  <a:cxn ang="0">
                    <a:pos x="34" y="72"/>
                  </a:cxn>
                  <a:cxn ang="0">
                    <a:pos x="13" y="39"/>
                  </a:cxn>
                  <a:cxn ang="0">
                    <a:pos x="0" y="18"/>
                  </a:cxn>
                  <a:cxn ang="0">
                    <a:pos x="17" y="0"/>
                  </a:cxn>
                  <a:cxn ang="0">
                    <a:pos x="41" y="20"/>
                  </a:cxn>
                  <a:cxn ang="0">
                    <a:pos x="34" y="72"/>
                  </a:cxn>
                </a:cxnLst>
                <a:rect l="0" t="0" r="r" b="b"/>
                <a:pathLst>
                  <a:path w="41" h="72">
                    <a:moveTo>
                      <a:pt x="34" y="72"/>
                    </a:moveTo>
                    <a:lnTo>
                      <a:pt x="13" y="39"/>
                    </a:lnTo>
                    <a:lnTo>
                      <a:pt x="0" y="18"/>
                    </a:lnTo>
                    <a:lnTo>
                      <a:pt x="17" y="0"/>
                    </a:lnTo>
                    <a:lnTo>
                      <a:pt x="41" y="20"/>
                    </a:lnTo>
                    <a:lnTo>
                      <a:pt x="34" y="72"/>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sp>
            <p:nvSpPr>
              <p:cNvPr id="141" name="Freeform 22"/>
              <p:cNvSpPr>
                <a:spLocks/>
              </p:cNvSpPr>
              <p:nvPr/>
            </p:nvSpPr>
            <p:spPr bwMode="auto">
              <a:xfrm>
                <a:off x="9001113" y="5979539"/>
                <a:ext cx="47416" cy="50289"/>
              </a:xfrm>
              <a:custGeom>
                <a:avLst/>
                <a:gdLst/>
                <a:ahLst/>
                <a:cxnLst>
                  <a:cxn ang="0">
                    <a:pos x="17" y="35"/>
                  </a:cxn>
                  <a:cxn ang="0">
                    <a:pos x="33" y="24"/>
                  </a:cxn>
                  <a:cxn ang="0">
                    <a:pos x="24" y="4"/>
                  </a:cxn>
                  <a:cxn ang="0">
                    <a:pos x="0" y="0"/>
                  </a:cxn>
                  <a:cxn ang="0">
                    <a:pos x="7" y="21"/>
                  </a:cxn>
                  <a:cxn ang="0">
                    <a:pos x="2" y="32"/>
                  </a:cxn>
                  <a:cxn ang="0">
                    <a:pos x="17" y="35"/>
                  </a:cxn>
                </a:cxnLst>
                <a:rect l="0" t="0" r="r" b="b"/>
                <a:pathLst>
                  <a:path w="33" h="35">
                    <a:moveTo>
                      <a:pt x="17" y="35"/>
                    </a:moveTo>
                    <a:lnTo>
                      <a:pt x="33" y="24"/>
                    </a:lnTo>
                    <a:lnTo>
                      <a:pt x="24" y="4"/>
                    </a:lnTo>
                    <a:lnTo>
                      <a:pt x="0" y="0"/>
                    </a:lnTo>
                    <a:lnTo>
                      <a:pt x="7" y="21"/>
                    </a:lnTo>
                    <a:lnTo>
                      <a:pt x="2" y="32"/>
                    </a:lnTo>
                    <a:lnTo>
                      <a:pt x="17" y="35"/>
                    </a:lnTo>
                    <a:close/>
                  </a:path>
                </a:pathLst>
              </a:custGeom>
              <a:noFill/>
              <a:ln w="4763" cap="rnd">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780" rtl="0" eaLnBrk="1" latinLnBrk="0" hangingPunct="1"/>
                <a:endParaRPr lang="en-US" sz="1800" kern="1200" dirty="0">
                  <a:solidFill>
                    <a:schemeClr val="tx1"/>
                  </a:solidFill>
                  <a:latin typeface="+mn-lt"/>
                  <a:ea typeface="+mn-ea"/>
                  <a:cs typeface="+mn-cs"/>
                </a:endParaRPr>
              </a:p>
            </p:txBody>
          </p:sp>
        </p:grpSp>
        <p:grpSp>
          <p:nvGrpSpPr>
            <p:cNvPr id="75" name="Groupe 72"/>
            <p:cNvGrpSpPr/>
            <p:nvPr/>
          </p:nvGrpSpPr>
          <p:grpSpPr>
            <a:xfrm>
              <a:off x="6087806" y="3982892"/>
              <a:ext cx="3420264" cy="1285431"/>
              <a:chOff x="1286729" y="2712190"/>
              <a:chExt cx="8001752" cy="3007283"/>
            </a:xfrm>
            <a:solidFill>
              <a:schemeClr val="accent6">
                <a:lumMod val="60000"/>
                <a:lumOff val="40000"/>
              </a:schemeClr>
            </a:solidFill>
          </p:grpSpPr>
          <p:sp>
            <p:nvSpPr>
              <p:cNvPr id="76" name="Oval 38"/>
              <p:cNvSpPr>
                <a:spLocks noChangeArrowheads="1"/>
              </p:cNvSpPr>
              <p:nvPr/>
            </p:nvSpPr>
            <p:spPr bwMode="auto">
              <a:xfrm>
                <a:off x="4296905" y="2992372"/>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77" name="Oval 25"/>
              <p:cNvSpPr>
                <a:spLocks noChangeArrowheads="1"/>
              </p:cNvSpPr>
              <p:nvPr/>
            </p:nvSpPr>
            <p:spPr bwMode="auto">
              <a:xfrm>
                <a:off x="2240789" y="4713693"/>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78" name="Oval 26"/>
              <p:cNvSpPr>
                <a:spLocks noChangeArrowheads="1"/>
              </p:cNvSpPr>
              <p:nvPr/>
            </p:nvSpPr>
            <p:spPr bwMode="auto">
              <a:xfrm>
                <a:off x="2104290" y="4157640"/>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79" name="Oval 27"/>
              <p:cNvSpPr>
                <a:spLocks noChangeArrowheads="1"/>
              </p:cNvSpPr>
              <p:nvPr/>
            </p:nvSpPr>
            <p:spPr bwMode="auto">
              <a:xfrm>
                <a:off x="8355973" y="5176352"/>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80" name="Oval 28"/>
              <p:cNvSpPr>
                <a:spLocks noChangeArrowheads="1"/>
              </p:cNvSpPr>
              <p:nvPr/>
            </p:nvSpPr>
            <p:spPr bwMode="auto">
              <a:xfrm>
                <a:off x="9216639" y="5647632"/>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81" name="Oval 29"/>
              <p:cNvSpPr>
                <a:spLocks noChangeArrowheads="1"/>
              </p:cNvSpPr>
              <p:nvPr/>
            </p:nvSpPr>
            <p:spPr bwMode="auto">
              <a:xfrm>
                <a:off x="7659106" y="4295576"/>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82" name="Oval 30"/>
              <p:cNvSpPr>
                <a:spLocks noChangeArrowheads="1"/>
              </p:cNvSpPr>
              <p:nvPr/>
            </p:nvSpPr>
            <p:spPr bwMode="auto">
              <a:xfrm>
                <a:off x="7253918" y="3337211"/>
                <a:ext cx="71842"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83" name="Oval 31"/>
              <p:cNvSpPr>
                <a:spLocks noChangeArrowheads="1"/>
              </p:cNvSpPr>
              <p:nvPr/>
            </p:nvSpPr>
            <p:spPr bwMode="auto">
              <a:xfrm>
                <a:off x="7840148" y="3917690"/>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84" name="Oval 32"/>
              <p:cNvSpPr>
                <a:spLocks noChangeArrowheads="1"/>
              </p:cNvSpPr>
              <p:nvPr/>
            </p:nvSpPr>
            <p:spPr bwMode="auto">
              <a:xfrm>
                <a:off x="8230968" y="3114502"/>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85" name="Oval 33"/>
              <p:cNvSpPr>
                <a:spLocks noChangeArrowheads="1"/>
              </p:cNvSpPr>
              <p:nvPr/>
            </p:nvSpPr>
            <p:spPr bwMode="auto">
              <a:xfrm>
                <a:off x="6574293" y="3774007"/>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86" name="Oval 34"/>
              <p:cNvSpPr>
                <a:spLocks noChangeArrowheads="1"/>
              </p:cNvSpPr>
              <p:nvPr/>
            </p:nvSpPr>
            <p:spPr bwMode="auto">
              <a:xfrm>
                <a:off x="5953579" y="3805617"/>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87" name="Oval 35"/>
              <p:cNvSpPr>
                <a:spLocks noChangeArrowheads="1"/>
              </p:cNvSpPr>
              <p:nvPr/>
            </p:nvSpPr>
            <p:spPr bwMode="auto">
              <a:xfrm>
                <a:off x="4973656" y="5163420"/>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88" name="Oval 36"/>
              <p:cNvSpPr>
                <a:spLocks noChangeArrowheads="1"/>
              </p:cNvSpPr>
              <p:nvPr/>
            </p:nvSpPr>
            <p:spPr bwMode="auto">
              <a:xfrm>
                <a:off x="5272518" y="3480894"/>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89" name="Oval 37"/>
              <p:cNvSpPr>
                <a:spLocks noChangeArrowheads="1"/>
              </p:cNvSpPr>
              <p:nvPr/>
            </p:nvSpPr>
            <p:spPr bwMode="auto">
              <a:xfrm>
                <a:off x="4437715" y="3026856"/>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90" name="Oval 39"/>
              <p:cNvSpPr>
                <a:spLocks noChangeArrowheads="1"/>
              </p:cNvSpPr>
              <p:nvPr/>
            </p:nvSpPr>
            <p:spPr bwMode="auto">
              <a:xfrm>
                <a:off x="4717898" y="2930588"/>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91" name="Oval 40"/>
              <p:cNvSpPr>
                <a:spLocks noChangeArrowheads="1"/>
              </p:cNvSpPr>
              <p:nvPr/>
            </p:nvSpPr>
            <p:spPr bwMode="auto">
              <a:xfrm>
                <a:off x="4483694" y="3161917"/>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92" name="Oval 41"/>
              <p:cNvSpPr>
                <a:spLocks noChangeArrowheads="1"/>
              </p:cNvSpPr>
              <p:nvPr/>
            </p:nvSpPr>
            <p:spPr bwMode="auto">
              <a:xfrm>
                <a:off x="4699219" y="3146112"/>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93" name="Oval 42"/>
              <p:cNvSpPr>
                <a:spLocks noChangeArrowheads="1"/>
              </p:cNvSpPr>
              <p:nvPr/>
            </p:nvSpPr>
            <p:spPr bwMode="auto">
              <a:xfrm>
                <a:off x="4742325" y="3068524"/>
                <a:ext cx="68968"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94" name="Oval 43"/>
              <p:cNvSpPr>
                <a:spLocks noChangeArrowheads="1"/>
              </p:cNvSpPr>
              <p:nvPr/>
            </p:nvSpPr>
            <p:spPr bwMode="auto">
              <a:xfrm>
                <a:off x="4365873" y="3327153"/>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95" name="Oval 44"/>
              <p:cNvSpPr>
                <a:spLocks noChangeArrowheads="1"/>
              </p:cNvSpPr>
              <p:nvPr/>
            </p:nvSpPr>
            <p:spPr bwMode="auto">
              <a:xfrm>
                <a:off x="4237994" y="3585782"/>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96" name="Oval 45"/>
              <p:cNvSpPr>
                <a:spLocks noChangeArrowheads="1"/>
              </p:cNvSpPr>
              <p:nvPr/>
            </p:nvSpPr>
            <p:spPr bwMode="auto">
              <a:xfrm>
                <a:off x="4727956" y="3295543"/>
                <a:ext cx="67531"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97" name="Oval 46"/>
              <p:cNvSpPr>
                <a:spLocks noChangeArrowheads="1"/>
              </p:cNvSpPr>
              <p:nvPr/>
            </p:nvSpPr>
            <p:spPr bwMode="auto">
              <a:xfrm>
                <a:off x="4798361" y="3148986"/>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98" name="Oval 47"/>
              <p:cNvSpPr>
                <a:spLocks noChangeArrowheads="1"/>
              </p:cNvSpPr>
              <p:nvPr/>
            </p:nvSpPr>
            <p:spPr bwMode="auto">
              <a:xfrm>
                <a:off x="4883135" y="3105881"/>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99" name="Oval 48"/>
              <p:cNvSpPr>
                <a:spLocks noChangeArrowheads="1"/>
              </p:cNvSpPr>
              <p:nvPr/>
            </p:nvSpPr>
            <p:spPr bwMode="auto">
              <a:xfrm>
                <a:off x="4883135" y="3196401"/>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00" name="Oval 49"/>
              <p:cNvSpPr>
                <a:spLocks noChangeArrowheads="1"/>
              </p:cNvSpPr>
              <p:nvPr/>
            </p:nvSpPr>
            <p:spPr bwMode="auto">
              <a:xfrm>
                <a:off x="5069924" y="3292669"/>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01" name="Oval 50"/>
              <p:cNvSpPr>
                <a:spLocks noChangeArrowheads="1"/>
              </p:cNvSpPr>
              <p:nvPr/>
            </p:nvSpPr>
            <p:spPr bwMode="auto">
              <a:xfrm>
                <a:off x="4979403" y="3239506"/>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02" name="Oval 51"/>
              <p:cNvSpPr>
                <a:spLocks noChangeArrowheads="1"/>
              </p:cNvSpPr>
              <p:nvPr/>
            </p:nvSpPr>
            <p:spPr bwMode="auto">
              <a:xfrm>
                <a:off x="4957850" y="3011050"/>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03" name="Oval 52"/>
              <p:cNvSpPr>
                <a:spLocks noChangeArrowheads="1"/>
              </p:cNvSpPr>
              <p:nvPr/>
            </p:nvSpPr>
            <p:spPr bwMode="auto">
              <a:xfrm>
                <a:off x="5069924" y="3199275"/>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04" name="Oval 53"/>
              <p:cNvSpPr>
                <a:spLocks noChangeArrowheads="1"/>
              </p:cNvSpPr>
              <p:nvPr/>
            </p:nvSpPr>
            <p:spPr bwMode="auto">
              <a:xfrm>
                <a:off x="4970782" y="3117376"/>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05" name="Oval 54"/>
              <p:cNvSpPr>
                <a:spLocks noChangeArrowheads="1"/>
              </p:cNvSpPr>
              <p:nvPr/>
            </p:nvSpPr>
            <p:spPr bwMode="auto">
              <a:xfrm>
                <a:off x="4259547" y="3342958"/>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06" name="Oval 55"/>
              <p:cNvSpPr>
                <a:spLocks noChangeArrowheads="1"/>
              </p:cNvSpPr>
              <p:nvPr/>
            </p:nvSpPr>
            <p:spPr bwMode="auto">
              <a:xfrm>
                <a:off x="2477868" y="2712190"/>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07" name="Oval 56"/>
              <p:cNvSpPr>
                <a:spLocks noChangeArrowheads="1"/>
              </p:cNvSpPr>
              <p:nvPr/>
            </p:nvSpPr>
            <p:spPr bwMode="auto">
              <a:xfrm>
                <a:off x="1414608" y="2911909"/>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08" name="Oval 57"/>
              <p:cNvSpPr>
                <a:spLocks noChangeArrowheads="1"/>
              </p:cNvSpPr>
              <p:nvPr/>
            </p:nvSpPr>
            <p:spPr bwMode="auto">
              <a:xfrm>
                <a:off x="1286729" y="3590093"/>
                <a:ext cx="68968"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09" name="Oval 58"/>
              <p:cNvSpPr>
                <a:spLocks noChangeArrowheads="1"/>
              </p:cNvSpPr>
              <p:nvPr/>
            </p:nvSpPr>
            <p:spPr bwMode="auto">
              <a:xfrm>
                <a:off x="1667491" y="3842974"/>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10" name="Oval 59"/>
              <p:cNvSpPr>
                <a:spLocks noChangeArrowheads="1"/>
              </p:cNvSpPr>
              <p:nvPr/>
            </p:nvSpPr>
            <p:spPr bwMode="auto">
              <a:xfrm>
                <a:off x="2736499" y="4492421"/>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11" name="Oval 60"/>
              <p:cNvSpPr>
                <a:spLocks noChangeArrowheads="1"/>
              </p:cNvSpPr>
              <p:nvPr/>
            </p:nvSpPr>
            <p:spPr bwMode="auto">
              <a:xfrm>
                <a:off x="2403152" y="5088705"/>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12" name="Oval 61"/>
              <p:cNvSpPr>
                <a:spLocks noChangeArrowheads="1"/>
              </p:cNvSpPr>
              <p:nvPr/>
            </p:nvSpPr>
            <p:spPr bwMode="auto">
              <a:xfrm>
                <a:off x="4674793" y="3049845"/>
                <a:ext cx="71842"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13" name="Oval 62"/>
              <p:cNvSpPr>
                <a:spLocks noChangeArrowheads="1"/>
              </p:cNvSpPr>
              <p:nvPr/>
            </p:nvSpPr>
            <p:spPr bwMode="auto">
              <a:xfrm>
                <a:off x="4630251" y="2720811"/>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14" name="Oval 63"/>
              <p:cNvSpPr>
                <a:spLocks noChangeArrowheads="1"/>
              </p:cNvSpPr>
              <p:nvPr/>
            </p:nvSpPr>
            <p:spPr bwMode="auto">
              <a:xfrm>
                <a:off x="4758130" y="2755295"/>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15" name="Oval 64"/>
              <p:cNvSpPr>
                <a:spLocks noChangeArrowheads="1"/>
              </p:cNvSpPr>
              <p:nvPr/>
            </p:nvSpPr>
            <p:spPr bwMode="auto">
              <a:xfrm>
                <a:off x="5026819" y="2727995"/>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16" name="Oval 65"/>
              <p:cNvSpPr>
                <a:spLocks noChangeArrowheads="1"/>
              </p:cNvSpPr>
              <p:nvPr/>
            </p:nvSpPr>
            <p:spPr bwMode="auto">
              <a:xfrm>
                <a:off x="4805546" y="3026856"/>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17" name="Oval 66"/>
              <p:cNvSpPr>
                <a:spLocks noChangeArrowheads="1"/>
              </p:cNvSpPr>
              <p:nvPr/>
            </p:nvSpPr>
            <p:spPr bwMode="auto">
              <a:xfrm>
                <a:off x="7370302" y="4239539"/>
                <a:ext cx="67531"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18" name="Oval 67"/>
              <p:cNvSpPr>
                <a:spLocks noChangeArrowheads="1"/>
              </p:cNvSpPr>
              <p:nvPr/>
            </p:nvSpPr>
            <p:spPr bwMode="auto">
              <a:xfrm>
                <a:off x="7445017" y="3979473"/>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19" name="Oval 68"/>
              <p:cNvSpPr>
                <a:spLocks noChangeArrowheads="1"/>
              </p:cNvSpPr>
              <p:nvPr/>
            </p:nvSpPr>
            <p:spPr bwMode="auto">
              <a:xfrm>
                <a:off x="7735258" y="3680613"/>
                <a:ext cx="67531"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sp>
            <p:nvSpPr>
              <p:cNvPr id="120" name="Oval 64"/>
              <p:cNvSpPr>
                <a:spLocks noChangeArrowheads="1"/>
              </p:cNvSpPr>
              <p:nvPr/>
            </p:nvSpPr>
            <p:spPr bwMode="auto">
              <a:xfrm>
                <a:off x="5625545" y="2815079"/>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900" dirty="0"/>
              </a:p>
            </p:txBody>
          </p:sp>
        </p:grpSp>
      </p:gr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2"/>
          <a:ext cx="135749" cy="143985"/>
        </p:xfrm>
        <a:graphic>
          <a:graphicData uri="http://schemas.openxmlformats.org/presentationml/2006/ole">
            <mc:AlternateContent xmlns:mc="http://schemas.openxmlformats.org/markup-compatibility/2006">
              <mc:Choice xmlns:v="urn:schemas-microsoft-com:vml" Requires="v">
                <p:oleObj spid="_x0000_s263236"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3" name="Group 12"/>
          <p:cNvGrpSpPr/>
          <p:nvPr userDrawn="1"/>
        </p:nvGrpSpPr>
        <p:grpSpPr>
          <a:xfrm>
            <a:off x="4756689" y="2798967"/>
            <a:ext cx="4118163" cy="2306864"/>
            <a:chOff x="779494" y="3540483"/>
            <a:chExt cx="4118162" cy="2306864"/>
          </a:xfrm>
        </p:grpSpPr>
        <p:sp>
          <p:nvSpPr>
            <p:cNvPr id="14" name="Rectangle 9"/>
            <p:cNvSpPr>
              <a:spLocks noChangeArrowheads="1"/>
            </p:cNvSpPr>
            <p:nvPr userDrawn="1">
              <p:custDataLst>
                <p:tags r:id="rId3"/>
              </p:custDataLst>
            </p:nvPr>
          </p:nvSpPr>
          <p:spPr bwMode="gray">
            <a:xfrm>
              <a:off x="1029732" y="3689339"/>
              <a:ext cx="3867924" cy="215800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solidFill>
                <a:schemeClr val="accent5">
                  <a:lumMod val="40000"/>
                  <a:lumOff val="60000"/>
                </a:schemeClr>
              </a:solidFill>
              <a:prstDash val="solid"/>
              <a:round/>
            </a:ln>
            <a:effectLst/>
          </p:spPr>
          <p:txBody>
            <a:bodyPr wrap="square" lIns="360000" tIns="50951" rIns="216000" bIns="144000" rtlCol="0" anchor="b"/>
            <a:lstStyle/>
            <a:p>
              <a:pPr marL="0" marR="0" indent="0" algn="just" defTabSz="1042941" rtl="0" eaLnBrk="1" fontAlgn="auto" latinLnBrk="0" hangingPunct="1">
                <a:lnSpc>
                  <a:spcPct val="100000"/>
                </a:lnSpc>
                <a:spcBef>
                  <a:spcPts val="0"/>
                </a:spcBef>
                <a:spcAft>
                  <a:spcPts val="600"/>
                </a:spcAft>
                <a:buClrTx/>
                <a:buSzTx/>
                <a:buFontTx/>
                <a:buNone/>
                <a:tabLst/>
                <a:defRPr/>
              </a:pPr>
              <a:r>
                <a:rPr lang="en-US" sz="16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892780" rtl="0" eaLnBrk="1" fontAlgn="auto" latinLnBrk="0" hangingPunct="1">
                <a:lnSpc>
                  <a:spcPct val="100000"/>
                </a:lnSpc>
                <a:spcBef>
                  <a:spcPts val="600"/>
                </a:spcBef>
                <a:spcAft>
                  <a:spcPts val="0"/>
                </a:spcAft>
                <a:buClrTx/>
                <a:buSzTx/>
                <a:buFontTx/>
                <a:buNone/>
                <a:tabLst/>
                <a:defRPr/>
              </a:pPr>
              <a:r>
                <a:rPr lang="en-US" sz="9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9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900" u="sng" dirty="0" smtClean="0">
                  <a:solidFill>
                    <a:schemeClr val="bg1"/>
                  </a:solidFill>
                  <a:latin typeface="Arial" pitchFamily="34" charset="0"/>
                  <a:cs typeface="Arial" pitchFamily="34" charset="0"/>
                </a:rPr>
                <a:t>the Collaborative Business Experience™</a:t>
              </a:r>
              <a:r>
                <a:rPr lang="en-US" sz="900" dirty="0" smtClean="0">
                  <a:solidFill>
                    <a:schemeClr val="bg1"/>
                  </a:solidFill>
                  <a:latin typeface="Arial" pitchFamily="34" charset="0"/>
                  <a:cs typeface="Arial" pitchFamily="34" charset="0"/>
                </a:rPr>
                <a:t>, and draws on </a:t>
              </a:r>
              <a:r>
                <a:rPr lang="en-US" sz="900" u="sng" dirty="0" smtClean="0">
                  <a:solidFill>
                    <a:schemeClr val="bg1"/>
                  </a:solidFill>
                  <a:latin typeface="Arial" pitchFamily="34" charset="0"/>
                  <a:cs typeface="Arial" pitchFamily="34" charset="0"/>
                </a:rPr>
                <a:t>Rightshore</a:t>
              </a:r>
              <a:r>
                <a:rPr lang="en-US" sz="900" u="sng" baseline="30000" dirty="0" smtClean="0">
                  <a:solidFill>
                    <a:schemeClr val="bg1"/>
                  </a:solidFill>
                  <a:latin typeface="Arial" pitchFamily="34" charset="0"/>
                  <a:cs typeface="Arial" pitchFamily="34" charset="0"/>
                </a:rPr>
                <a:t>®</a:t>
              </a:r>
              <a:r>
                <a:rPr lang="en-US" sz="900" dirty="0" smtClean="0">
                  <a:solidFill>
                    <a:schemeClr val="bg1"/>
                  </a:solidFill>
                  <a:latin typeface="Arial" pitchFamily="34" charset="0"/>
                  <a:cs typeface="Arial" pitchFamily="34" charset="0"/>
                </a:rPr>
                <a:t>, its worldwide delivery model.</a:t>
              </a:r>
            </a:p>
            <a:p>
              <a:pPr marL="0" indent="0" algn="just">
                <a:spcBef>
                  <a:spcPts val="600"/>
                </a:spcBef>
              </a:pPr>
              <a:r>
                <a:rPr lang="en-US" sz="900" dirty="0" smtClean="0">
                  <a:solidFill>
                    <a:schemeClr val="bg1"/>
                  </a:solidFill>
                  <a:latin typeface="Arial" pitchFamily="34" charset="0"/>
                  <a:cs typeface="Arial" pitchFamily="34" charset="0"/>
                </a:rPr>
                <a:t>Learn more about us at </a:t>
              </a:r>
              <a:r>
                <a:rPr lang="en-US" sz="900" b="1" u="sng" dirty="0" smtClean="0">
                  <a:solidFill>
                    <a:schemeClr val="bg1"/>
                  </a:solidFill>
                  <a:latin typeface="Arial" pitchFamily="34" charset="0"/>
                  <a:cs typeface="Arial" pitchFamily="34" charset="0"/>
                </a:rPr>
                <a:t>www.capgemini.com</a:t>
              </a:r>
              <a:r>
                <a:rPr lang="en-US" sz="900" dirty="0" smtClean="0">
                  <a:solidFill>
                    <a:schemeClr val="bg1"/>
                  </a:solidFill>
                  <a:latin typeface="Arial" pitchFamily="34" charset="0"/>
                  <a:cs typeface="Arial" pitchFamily="34" charset="0"/>
                </a:rPr>
                <a:t>.</a:t>
              </a:r>
              <a:endParaRPr lang="en-US" sz="900" dirty="0">
                <a:solidFill>
                  <a:schemeClr val="bg1"/>
                </a:solidFill>
                <a:latin typeface="Arial" pitchFamily="34" charset="0"/>
                <a:cs typeface="Arial" pitchFamily="34" charset="0"/>
              </a:endParaRPr>
            </a:p>
          </p:txBody>
        </p:sp>
        <p:pic>
          <p:nvPicPr>
            <p:cNvPr id="15" name="Image 337" descr="CBE_Label_ppt.png"/>
            <p:cNvPicPr>
              <a:picLocks noChangeAspect="1"/>
            </p:cNvPicPr>
            <p:nvPr userDrawn="1"/>
          </p:nvPicPr>
          <p:blipFill>
            <a:blip r:embed="rId7" cstate="screen"/>
            <a:stretch>
              <a:fillRect/>
            </a:stretch>
          </p:blipFill>
          <p:spPr>
            <a:xfrm>
              <a:off x="779494" y="3540483"/>
              <a:ext cx="519572" cy="522508"/>
            </a:xfrm>
            <a:prstGeom prst="rect">
              <a:avLst/>
            </a:prstGeom>
          </p:spPr>
        </p:pic>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46539" cy="158750"/>
        </p:xfrm>
        <a:graphic>
          <a:graphicData uri="http://schemas.openxmlformats.org/presentationml/2006/ole">
            <mc:AlternateContent xmlns:mc="http://schemas.openxmlformats.org/markup-compatibility/2006">
              <mc:Choice xmlns:v="urn:schemas-microsoft-com:vml" Requires="v">
                <p:oleObj spid="_x0000_s264260"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10" name="Picture 17" descr="D:\My Work\ODS\TEMPLATES\Business Cloud\12-08\Cover1.jpg"/>
          <p:cNvPicPr>
            <a:picLocks noChangeAspect="1" noChangeArrowheads="1"/>
          </p:cNvPicPr>
          <p:nvPr userDrawn="1"/>
        </p:nvPicPr>
        <p:blipFill>
          <a:blip r:embed="rId5" cstate="print"/>
          <a:srcRect r="7664" b="5737"/>
          <a:stretch>
            <a:fillRect/>
          </a:stretch>
        </p:blipFill>
        <p:spPr bwMode="auto">
          <a:xfrm>
            <a:off x="0" y="391494"/>
            <a:ext cx="9144000" cy="6466506"/>
          </a:xfrm>
          <a:prstGeom prst="rect">
            <a:avLst/>
          </a:prstGeom>
          <a:noFill/>
          <a:ln>
            <a:noFill/>
          </a:ln>
        </p:spPr>
      </p:pic>
      <p:sp>
        <p:nvSpPr>
          <p:cNvPr id="7" name="Rectangle 7"/>
          <p:cNvSpPr>
            <a:spLocks noChangeAspect="1"/>
          </p:cNvSpPr>
          <p:nvPr userDrawn="1">
            <p:custDataLst>
              <p:tags r:id="rId2"/>
            </p:custDataLst>
          </p:nvPr>
        </p:nvSpPr>
        <p:spPr bwMode="auto">
          <a:xfrm>
            <a:off x="0" y="0"/>
            <a:ext cx="9144000" cy="30722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2">
              <a:lumMod val="20000"/>
              <a:lumOff val="80000"/>
            </a:schemeClr>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marL="0" algn="ctr" defTabSz="957732"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1"/>
          <a:ext cx="146539" cy="158750"/>
        </p:xfrm>
        <a:graphic>
          <a:graphicData uri="http://schemas.openxmlformats.org/presentationml/2006/ole">
            <mc:AlternateContent xmlns:mc="http://schemas.openxmlformats.org/markup-compatibility/2006">
              <mc:Choice xmlns:v="urn:schemas-microsoft-com:vml" Requires="v">
                <p:oleObj spid="_x0000_s675908" name="think-cell Slide" r:id="rId6" imgW="360" imgH="360" progId="">
                  <p:embed/>
                </p:oleObj>
              </mc:Choice>
              <mc:Fallback>
                <p:oleObj name="think-cell Slide" r:id="rId6" imgW="360" imgH="360" progId="">
                  <p:embed/>
                  <p:pic>
                    <p:nvPicPr>
                      <p:cNvPr id="0"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266700" y="633412"/>
            <a:ext cx="8610600" cy="1143000"/>
          </a:xfrm>
          <a:prstGeom prst="rect">
            <a:avLst/>
          </a:prstGeom>
        </p:spPr>
        <p:txBody>
          <a:bodyPr lIns="0" tIns="0" rIns="0" bIns="0" anchor="ctr"/>
          <a:lstStyle>
            <a:lvl1pPr>
              <a:buFontTx/>
              <a:buNone/>
              <a:defRPr sz="3600">
                <a:solidFill>
                  <a:schemeClr val="accent2">
                    <a:lumMod val="75000"/>
                  </a:schemeClr>
                </a:solidFill>
              </a:defRPr>
            </a:lvl1pPr>
          </a:lstStyle>
          <a:p>
            <a:pPr lvl="0"/>
            <a:r>
              <a:rPr lang="en-US" dirty="0" smtClean="0"/>
              <a:t>Click to edit Master tex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1.xml"/><Relationship Id="rId15" Type="http://schemas.openxmlformats.org/officeDocument/2006/relationships/tags" Target="../tags/tag10.xml"/><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image" Target="../media/image1.emf"/><Relationship Id="rId26" Type="http://schemas.openxmlformats.org/officeDocument/2006/relationships/hyperlink" Target="http://www.youtube.com/capgemini" TargetMode="External"/><Relationship Id="rId3" Type="http://schemas.openxmlformats.org/officeDocument/2006/relationships/slideLayout" Target="../slideLayouts/slideLayout7.xml"/><Relationship Id="rId21" Type="http://schemas.openxmlformats.org/officeDocument/2006/relationships/image" Target="../media/image5.png"/><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oleObject" Target="../embeddings/oleObject6.bin"/><Relationship Id="rId25" Type="http://schemas.openxmlformats.org/officeDocument/2006/relationships/image" Target="../media/image7.png"/><Relationship Id="rId2" Type="http://schemas.openxmlformats.org/officeDocument/2006/relationships/slideLayout" Target="../slideLayouts/slideLayout6.xml"/><Relationship Id="rId16" Type="http://schemas.openxmlformats.org/officeDocument/2006/relationships/tags" Target="../tags/tag37.xml"/><Relationship Id="rId20" Type="http://schemas.openxmlformats.org/officeDocument/2006/relationships/hyperlink" Target="http://www.facebook.com/Capgemini" TargetMode="External"/><Relationship Id="rId29" Type="http://schemas.openxmlformats.org/officeDocument/2006/relationships/image" Target="../media/image9.gif"/><Relationship Id="rId1" Type="http://schemas.openxmlformats.org/officeDocument/2006/relationships/slideLayout" Target="../slideLayouts/slideLayout5.x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hyperlink" Target="http://www.twitter.com/capgemini" TargetMode="External"/><Relationship Id="rId5" Type="http://schemas.openxmlformats.org/officeDocument/2006/relationships/vmlDrawing" Target="../drawings/vmlDrawing6.vml"/><Relationship Id="rId15" Type="http://schemas.openxmlformats.org/officeDocument/2006/relationships/tags" Target="../tags/tag36.xml"/><Relationship Id="rId23" Type="http://schemas.openxmlformats.org/officeDocument/2006/relationships/image" Target="../media/image6.png"/><Relationship Id="rId28" Type="http://schemas.openxmlformats.org/officeDocument/2006/relationships/hyperlink" Target="http://www.slideshare.net/capgemini" TargetMode="External"/><Relationship Id="rId10" Type="http://schemas.openxmlformats.org/officeDocument/2006/relationships/tags" Target="../tags/tag31.xml"/><Relationship Id="rId19" Type="http://schemas.openxmlformats.org/officeDocument/2006/relationships/hyperlink" Target="http://www.capgemini.com/" TargetMode="External"/><Relationship Id="rId31" Type="http://schemas.openxmlformats.org/officeDocument/2006/relationships/image" Target="../media/image2.png"/><Relationship Id="rId4" Type="http://schemas.openxmlformats.org/officeDocument/2006/relationships/theme" Target="../theme/theme2.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hyperlink" Target="http://www.linkedin.com/company/capgemini" TargetMode="External"/><Relationship Id="rId27" Type="http://schemas.openxmlformats.org/officeDocument/2006/relationships/image" Target="../media/image8.png"/><Relationship Id="rId30"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3.xml"/><Relationship Id="rId1" Type="http://schemas.openxmlformats.org/officeDocument/2006/relationships/slideLayout" Target="../slideLayouts/slideLayout8.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1" y="1"/>
          <a:ext cx="146539" cy="158750"/>
        </p:xfrm>
        <a:graphic>
          <a:graphicData uri="http://schemas.openxmlformats.org/presentationml/2006/ole">
            <mc:AlternateContent xmlns:mc="http://schemas.openxmlformats.org/markup-compatibility/2006">
              <mc:Choice xmlns:v="urn:schemas-microsoft-com:vml" Requires="v">
                <p:oleObj spid="_x0000_s2116" name="think-cell Slide" r:id="rId16" imgW="360" imgH="360" progId="">
                  <p:embed/>
                </p:oleObj>
              </mc:Choice>
              <mc:Fallback>
                <p:oleObj name="think-cell Slide" r:id="rId16" imgW="360" imgH="360" progId="">
                  <p:embed/>
                  <p:pic>
                    <p:nvPicPr>
                      <p:cNvPr id="0" name="Picture 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1"/>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8"/>
            </p:custDataLst>
          </p:nvPr>
        </p:nvSpPr>
        <p:spPr>
          <a:xfrm>
            <a:off x="266700" y="1"/>
            <a:ext cx="8610600" cy="1002135"/>
          </a:xfrm>
          <a:prstGeom prst="rect">
            <a:avLst/>
          </a:prstGeom>
        </p:spPr>
        <p:txBody>
          <a:bodyPr vert="horz" lIns="0" tIns="33059" rIns="0"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266700" y="1495426"/>
            <a:ext cx="8610600" cy="4772025"/>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8827278"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1"/>
                </a:solidFill>
              </a:rPr>
              <a:pPr algn="ctr"/>
              <a:t>‹#›</a:t>
            </a:fld>
            <a:endParaRPr lang="en-US" sz="700" dirty="0">
              <a:solidFill>
                <a:schemeClr val="tx1"/>
              </a:solidFill>
            </a:endParaRPr>
          </a:p>
        </p:txBody>
      </p:sp>
      <p:sp>
        <p:nvSpPr>
          <p:cNvPr id="12" name="Rectangle 11"/>
          <p:cNvSpPr>
            <a:spLocks noChangeArrowheads="1"/>
          </p:cNvSpPr>
          <p:nvPr>
            <p:custDataLst>
              <p:tags r:id="rId11"/>
            </p:custDataLst>
          </p:nvPr>
        </p:nvSpPr>
        <p:spPr bwMode="auto">
          <a:xfrm>
            <a:off x="6043248" y="6623405"/>
            <a:ext cx="2635961"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20"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1"/>
                </a:solidFill>
                <a:latin typeface="+mj-lt"/>
                <a:cs typeface="Helvetica Light"/>
              </a:rPr>
              <a:t>Copyright © Capgemini 2016. All Rights Reserved</a:t>
            </a:r>
          </a:p>
        </p:txBody>
      </p:sp>
      <p:sp>
        <p:nvSpPr>
          <p:cNvPr id="13" name="Rectangle 12"/>
          <p:cNvSpPr/>
          <p:nvPr>
            <p:custDataLst>
              <p:tags r:id="rId12"/>
            </p:custDataLst>
          </p:nvPr>
        </p:nvSpPr>
        <p:spPr>
          <a:xfrm>
            <a:off x="6911928" y="6427224"/>
            <a:ext cx="1767281" cy="195814"/>
          </a:xfrm>
          <a:prstGeom prst="rect">
            <a:avLst/>
          </a:prstGeom>
        </p:spPr>
        <p:txBody>
          <a:bodyPr wrap="none" lIns="35997" tIns="35997" rIns="35997" bIns="35997" anchor="b" anchorCtr="0">
            <a:noAutofit/>
          </a:bodyPr>
          <a:lstStyle/>
          <a:p>
            <a:pPr marL="0" marR="0" indent="0" algn="r" defTabSz="957732" rtl="0" eaLnBrk="1" fontAlgn="auto" latinLnBrk="0" hangingPunct="1">
              <a:lnSpc>
                <a:spcPct val="100000"/>
              </a:lnSpc>
              <a:spcBef>
                <a:spcPts val="0"/>
              </a:spcBef>
              <a:spcAft>
                <a:spcPts val="0"/>
              </a:spcAft>
              <a:buClrTx/>
              <a:buSzTx/>
              <a:buFontTx/>
              <a:buNone/>
              <a:tabLst/>
              <a:defRPr/>
            </a:pPr>
            <a:r>
              <a:rPr lang="en-US" sz="700" dirty="0" smtClean="0">
                <a:solidFill>
                  <a:schemeClr val="tx1"/>
                </a:solidFill>
                <a:latin typeface="+mj-lt"/>
              </a:rPr>
              <a:t>Cloud Choice Align: </a:t>
            </a:r>
            <a:r>
              <a:rPr lang="en-US" sz="700" baseline="0" dirty="0" smtClean="0">
                <a:solidFill>
                  <a:schemeClr val="tx1"/>
                </a:solidFill>
                <a:latin typeface="+mj-lt"/>
              </a:rPr>
              <a:t>|  2016</a:t>
            </a:r>
            <a:endParaRPr lang="en-US" sz="700" dirty="0" smtClean="0">
              <a:solidFill>
                <a:schemeClr val="tx1"/>
              </a:solidFill>
              <a:latin typeface="+mj-lt"/>
            </a:endParaRPr>
          </a:p>
        </p:txBody>
      </p:sp>
      <p:pic>
        <p:nvPicPr>
          <p:cNvPr id="17" name="Picture 103" descr="C:\Users\UserSim\Desktop\Capgemini\Capgemini_logo_cmyk.png"/>
          <p:cNvPicPr>
            <a:picLocks noChangeAspect="1" noChangeArrowheads="1"/>
          </p:cNvPicPr>
          <p:nvPr>
            <p:custDataLst>
              <p:tags r:id="rId13"/>
            </p:custDataLst>
          </p:nvPr>
        </p:nvPicPr>
        <p:blipFill>
          <a:blip r:embed="rId18" cstate="email"/>
          <a:stretch>
            <a:fillRect/>
          </a:stretch>
        </p:blipFill>
        <p:spPr bwMode="auto">
          <a:xfrm>
            <a:off x="265904" y="6471218"/>
            <a:ext cx="1152795" cy="271246"/>
          </a:xfrm>
          <a:prstGeom prst="rect">
            <a:avLst/>
          </a:prstGeom>
          <a:noFill/>
          <a:ln>
            <a:noFill/>
          </a:ln>
        </p:spPr>
      </p:pic>
      <p:cxnSp>
        <p:nvCxnSpPr>
          <p:cNvPr id="14" name="Straight Connector 5"/>
          <p:cNvCxnSpPr/>
          <p:nvPr>
            <p:custDataLst>
              <p:tags r:id="rId14"/>
            </p:custDataLst>
          </p:nvPr>
        </p:nvCxnSpPr>
        <p:spPr>
          <a:xfrm flipH="1">
            <a:off x="3"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8" name="Freeform 4"/>
          <p:cNvSpPr>
            <a:spLocks noChangeAspect="1"/>
          </p:cNvSpPr>
          <p:nvPr>
            <p:custDataLst>
              <p:tags r:id="rId15"/>
            </p:custDataLst>
          </p:nvPr>
        </p:nvSpPr>
        <p:spPr bwMode="auto">
          <a:xfrm>
            <a:off x="3" y="676406"/>
            <a:ext cx="9144000" cy="672114"/>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3" rIns="99563" bIns="49783" numCol="1" anchor="t" anchorCtr="0" compatLnSpc="1">
            <a:prstTxWarp prst="textNoShape">
              <a:avLst/>
            </a:prstTxWarp>
          </a:bodyPr>
          <a:lstStyle/>
          <a:p>
            <a:endParaRPr lang="fr-FR" sz="1900" dirty="0">
              <a:solidFill>
                <a:schemeClr val="accent3"/>
              </a:solidFill>
            </a:endParaRPr>
          </a:p>
        </p:txBody>
      </p:sp>
    </p:spTree>
  </p:cSld>
  <p:clrMap bg1="lt1" tx1="dk1" bg2="lt2" tx2="dk2" accent1="accent1" accent2="accent2" accent3="accent3" accent4="accent4" accent5="accent5" accent6="accent6" hlink="hlink" folHlink="folHlink"/>
  <p:sldLayoutIdLst>
    <p:sldLayoutId id="2147483969" r:id="rId1"/>
    <p:sldLayoutId id="2147483965" r:id="rId2"/>
    <p:sldLayoutId id="2147483966" r:id="rId3"/>
    <p:sldLayoutId id="2147483964" r:id="rId4"/>
  </p:sldLayoutIdLst>
  <p:timing>
    <p:tnLst>
      <p:par>
        <p:cTn id="1" dur="indefinite" restart="never" nodeType="tmRoot"/>
      </p:par>
    </p:tnLst>
  </p:timing>
  <p:txStyles>
    <p:titleStyle>
      <a:lvl1pPr algn="l" defTabSz="914320"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28594" indent="-228594" algn="l" defTabSz="914320" rtl="0" eaLnBrk="1" latinLnBrk="0" hangingPunct="1">
        <a:spcBef>
          <a:spcPts val="0"/>
        </a:spcBef>
        <a:spcAft>
          <a:spcPts val="600"/>
        </a:spcAft>
        <a:buClr>
          <a:schemeClr val="accent3"/>
        </a:buClr>
        <a:buFont typeface="Wingdings" pitchFamily="2" charset="2"/>
        <a:buChar char="§"/>
        <a:defRPr sz="2000" b="0" kern="1200">
          <a:solidFill>
            <a:schemeClr val="bg2">
              <a:lumMod val="50000"/>
            </a:schemeClr>
          </a:solidFill>
          <a:latin typeface="+mn-lt"/>
          <a:ea typeface="+mn-ea"/>
          <a:cs typeface="+mn-cs"/>
        </a:defRPr>
      </a:lvl1pPr>
      <a:lvl2pPr marL="457189" indent="-228594" algn="l" defTabSz="914320" rtl="0" eaLnBrk="1" latinLnBrk="0" hangingPunct="1">
        <a:spcBef>
          <a:spcPts val="0"/>
        </a:spcBef>
        <a:spcAft>
          <a:spcPts val="600"/>
        </a:spcAft>
        <a:buClr>
          <a:schemeClr val="accent3"/>
        </a:buClr>
        <a:buFont typeface="Arial" pitchFamily="34" charset="0"/>
        <a:buChar char="•"/>
        <a:defRPr sz="1800" b="0" kern="1200">
          <a:solidFill>
            <a:schemeClr val="bg2">
              <a:lumMod val="50000"/>
            </a:schemeClr>
          </a:solidFill>
          <a:latin typeface="+mn-lt"/>
          <a:ea typeface="+mn-ea"/>
          <a:cs typeface="+mn-cs"/>
        </a:defRPr>
      </a:lvl2pPr>
      <a:lvl3pPr marL="685783" indent="-228594" algn="l" defTabSz="914320" rtl="0" eaLnBrk="1" latinLnBrk="0" hangingPunct="1">
        <a:spcBef>
          <a:spcPts val="0"/>
        </a:spcBef>
        <a:spcAft>
          <a:spcPts val="600"/>
        </a:spcAft>
        <a:buClr>
          <a:schemeClr val="accent3"/>
        </a:buClr>
        <a:buFont typeface="Arial" pitchFamily="34" charset="0"/>
        <a:buChar char="–"/>
        <a:defRPr sz="1600" kern="1200">
          <a:solidFill>
            <a:schemeClr val="bg2">
              <a:lumMod val="50000"/>
            </a:schemeClr>
          </a:solidFill>
          <a:latin typeface="+mn-lt"/>
          <a:ea typeface="+mn-ea"/>
          <a:cs typeface="+mn-cs"/>
        </a:defRPr>
      </a:lvl3pPr>
      <a:lvl4pPr marL="914377" marR="0" indent="-228594" algn="l" defTabSz="914320" rtl="0" eaLnBrk="1" fontAlgn="auto" latinLnBrk="0" hangingPunct="1">
        <a:lnSpc>
          <a:spcPct val="100000"/>
        </a:lnSpc>
        <a:spcBef>
          <a:spcPts val="0"/>
        </a:spcBef>
        <a:spcAft>
          <a:spcPts val="0"/>
        </a:spcAft>
        <a:buClr>
          <a:schemeClr val="accent3"/>
        </a:buClr>
        <a:buSzTx/>
        <a:buFont typeface="Courier New" pitchFamily="49" charset="0"/>
        <a:buChar char="o"/>
        <a:tabLst/>
        <a:defRPr sz="1400" kern="1200">
          <a:solidFill>
            <a:schemeClr val="bg2">
              <a:lumMod val="50000"/>
            </a:schemeClr>
          </a:solidFill>
          <a:latin typeface="+mn-lt"/>
          <a:ea typeface="+mn-ea"/>
          <a:cs typeface="+mn-cs"/>
        </a:defRPr>
      </a:lvl4pPr>
      <a:lvl5pPr marL="1609584" indent="-193658" algn="l" defTabSz="914320"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378" indent="-228581" algn="l" defTabSz="9143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8" indent="-228581" algn="l" defTabSz="9143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97" indent="-228581" algn="l" defTabSz="9143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58" indent="-228581" algn="l" defTabSz="9143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20" rtl="0" eaLnBrk="1" latinLnBrk="0" hangingPunct="1">
        <a:defRPr sz="1800" kern="1200">
          <a:solidFill>
            <a:schemeClr val="tx1"/>
          </a:solidFill>
          <a:latin typeface="+mn-lt"/>
          <a:ea typeface="+mn-ea"/>
          <a:cs typeface="+mn-cs"/>
        </a:defRPr>
      </a:lvl1pPr>
      <a:lvl2pPr marL="457159" algn="l" defTabSz="914320" rtl="0" eaLnBrk="1" latinLnBrk="0" hangingPunct="1">
        <a:defRPr sz="1800" kern="1200">
          <a:solidFill>
            <a:schemeClr val="tx1"/>
          </a:solidFill>
          <a:latin typeface="+mn-lt"/>
          <a:ea typeface="+mn-ea"/>
          <a:cs typeface="+mn-cs"/>
        </a:defRPr>
      </a:lvl2pPr>
      <a:lvl3pPr marL="914320" algn="l" defTabSz="914320" rtl="0" eaLnBrk="1" latinLnBrk="0" hangingPunct="1">
        <a:defRPr sz="1800" kern="1200">
          <a:solidFill>
            <a:schemeClr val="tx1"/>
          </a:solidFill>
          <a:latin typeface="+mn-lt"/>
          <a:ea typeface="+mn-ea"/>
          <a:cs typeface="+mn-cs"/>
        </a:defRPr>
      </a:lvl3pPr>
      <a:lvl4pPr marL="1371479" algn="l" defTabSz="914320" rtl="0" eaLnBrk="1" latinLnBrk="0" hangingPunct="1">
        <a:defRPr sz="1800" kern="1200">
          <a:solidFill>
            <a:schemeClr val="tx1"/>
          </a:solidFill>
          <a:latin typeface="+mn-lt"/>
          <a:ea typeface="+mn-ea"/>
          <a:cs typeface="+mn-cs"/>
        </a:defRPr>
      </a:lvl4pPr>
      <a:lvl5pPr marL="1828638" algn="l" defTabSz="914320" rtl="0" eaLnBrk="1" latinLnBrk="0" hangingPunct="1">
        <a:defRPr sz="1800" kern="1200">
          <a:solidFill>
            <a:schemeClr val="tx1"/>
          </a:solidFill>
          <a:latin typeface="+mn-lt"/>
          <a:ea typeface="+mn-ea"/>
          <a:cs typeface="+mn-cs"/>
        </a:defRPr>
      </a:lvl5pPr>
      <a:lvl6pPr marL="2285798" algn="l" defTabSz="914320" rtl="0" eaLnBrk="1" latinLnBrk="0" hangingPunct="1">
        <a:defRPr sz="1800" kern="1200">
          <a:solidFill>
            <a:schemeClr val="tx1"/>
          </a:solidFill>
          <a:latin typeface="+mn-lt"/>
          <a:ea typeface="+mn-ea"/>
          <a:cs typeface="+mn-cs"/>
        </a:defRPr>
      </a:lvl6pPr>
      <a:lvl7pPr marL="2742958" algn="l" defTabSz="914320" rtl="0" eaLnBrk="1" latinLnBrk="0" hangingPunct="1">
        <a:defRPr sz="1800" kern="1200">
          <a:solidFill>
            <a:schemeClr val="tx1"/>
          </a:solidFill>
          <a:latin typeface="+mn-lt"/>
          <a:ea typeface="+mn-ea"/>
          <a:cs typeface="+mn-cs"/>
        </a:defRPr>
      </a:lvl7pPr>
      <a:lvl8pPr marL="3200119" algn="l" defTabSz="914320" rtl="0" eaLnBrk="1" latinLnBrk="0" hangingPunct="1">
        <a:defRPr sz="1800" kern="1200">
          <a:solidFill>
            <a:schemeClr val="tx1"/>
          </a:solidFill>
          <a:latin typeface="+mn-lt"/>
          <a:ea typeface="+mn-ea"/>
          <a:cs typeface="+mn-cs"/>
        </a:defRPr>
      </a:lvl8pPr>
      <a:lvl9pPr marL="3657278" algn="l" defTabSz="91432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Rectangle 7"/>
          <p:cNvSpPr>
            <a:spLocks noChangeAspect="1"/>
          </p:cNvSpPr>
          <p:nvPr>
            <p:custDataLst>
              <p:tags r:id="rId6"/>
            </p:custDataLst>
          </p:nvPr>
        </p:nvSpPr>
        <p:spPr bwMode="auto">
          <a:xfrm flipV="1">
            <a:off x="0" y="1685926"/>
            <a:ext cx="9144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 name="connsiteX0" fmla="*/ 10562847 w 10562847"/>
              <a:gd name="connsiteY0" fmla="*/ 470747 h 6119745"/>
              <a:gd name="connsiteX1" fmla="*/ 10562847 w 10562847"/>
              <a:gd name="connsiteY1" fmla="*/ 6119745 h 6119745"/>
              <a:gd name="connsiteX2" fmla="*/ 9024770 w 10562847"/>
              <a:gd name="connsiteY2" fmla="*/ 5279667 h 6119745"/>
              <a:gd name="connsiteX3" fmla="*/ 2295231 w 10562847"/>
              <a:gd name="connsiteY3" fmla="*/ 5264811 h 6119745"/>
              <a:gd name="connsiteX4" fmla="*/ 1200559 w 10562847"/>
              <a:gd name="connsiteY4" fmla="*/ 4543011 h 6119745"/>
              <a:gd name="connsiteX5" fmla="*/ 0 w 10562847"/>
              <a:gd name="connsiteY5" fmla="*/ 5266674 h 6119745"/>
              <a:gd name="connsiteX6" fmla="*/ 0 w 10562847"/>
              <a:gd name="connsiteY6" fmla="*/ 0 h 6119745"/>
              <a:gd name="connsiteX0" fmla="*/ 10562847 w 10562847"/>
              <a:gd name="connsiteY0" fmla="*/ 0 h 6119745"/>
              <a:gd name="connsiteX1" fmla="*/ 10562847 w 10562847"/>
              <a:gd name="connsiteY1" fmla="*/ 6119745 h 6119745"/>
              <a:gd name="connsiteX2" fmla="*/ 9024770 w 10562847"/>
              <a:gd name="connsiteY2" fmla="*/ 5279667 h 6119745"/>
              <a:gd name="connsiteX3" fmla="*/ 2295231 w 10562847"/>
              <a:gd name="connsiteY3" fmla="*/ 5264811 h 6119745"/>
              <a:gd name="connsiteX4" fmla="*/ 1200559 w 10562847"/>
              <a:gd name="connsiteY4" fmla="*/ 4543011 h 6119745"/>
              <a:gd name="connsiteX5" fmla="*/ 0 w 10562847"/>
              <a:gd name="connsiteY5" fmla="*/ 5266674 h 6119745"/>
              <a:gd name="connsiteX6" fmla="*/ 0 w 10562847"/>
              <a:gd name="connsiteY6" fmla="*/ 0 h 6119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6119745">
                <a:moveTo>
                  <a:pt x="10562847" y="0"/>
                </a:moveTo>
                <a:lnTo>
                  <a:pt x="10562847" y="6119745"/>
                </a:lnTo>
                <a:cubicBezTo>
                  <a:pt x="10190428" y="5382408"/>
                  <a:pt x="9462356" y="5263722"/>
                  <a:pt x="9024770" y="5279667"/>
                </a:cubicBezTo>
                <a:lnTo>
                  <a:pt x="2295231" y="5264811"/>
                </a:lnTo>
                <a:cubicBezTo>
                  <a:pt x="1854598" y="5265359"/>
                  <a:pt x="1423669" y="5015057"/>
                  <a:pt x="1200559" y="4543011"/>
                </a:cubicBezTo>
                <a:cubicBezTo>
                  <a:pt x="965203" y="5221465"/>
                  <a:pt x="278640" y="5265796"/>
                  <a:pt x="0" y="5266674"/>
                </a:cubicBezTo>
                <a:lnTo>
                  <a:pt x="0" y="0"/>
                </a:lnTo>
              </a:path>
            </a:pathLst>
          </a:custGeom>
          <a:gradFill>
            <a:gsLst>
              <a:gs pos="0">
                <a:schemeClr val="tx1"/>
              </a:gs>
              <a:gs pos="100000">
                <a:schemeClr val="accent5"/>
              </a:gs>
              <a:gs pos="100000">
                <a:schemeClr val="accent5"/>
              </a:gs>
            </a:gsLst>
            <a:lin ang="189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marL="0" algn="ctr" defTabSz="957732"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12" name="Object 11" hidden="1"/>
          <p:cNvGraphicFramePr>
            <a:graphicFrameLocks noChangeAspect="1"/>
          </p:cNvGraphicFramePr>
          <p:nvPr>
            <p:custDataLst>
              <p:tags r:id="rId7"/>
            </p:custDataLst>
          </p:nvPr>
        </p:nvGraphicFramePr>
        <p:xfrm>
          <a:off x="0" y="1"/>
          <a:ext cx="146539" cy="158750"/>
        </p:xfrm>
        <a:graphic>
          <a:graphicData uri="http://schemas.openxmlformats.org/presentationml/2006/ole">
            <mc:AlternateContent xmlns:mc="http://schemas.openxmlformats.org/markup-compatibility/2006">
              <mc:Choice xmlns:v="urn:schemas-microsoft-com:vml" Requires="v">
                <p:oleObj spid="_x0000_s261188" name="think-cell Slide" r:id="rId17" imgW="360" imgH="360" progId="">
                  <p:embed/>
                </p:oleObj>
              </mc:Choice>
              <mc:Fallback>
                <p:oleObj name="think-cell Slide" r:id="rId17" imgW="360" imgH="360" progId="">
                  <p:embed/>
                  <p:pic>
                    <p:nvPicPr>
                      <p:cNvPr id="0" name="Picture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1"/>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p:custDataLst>
              <p:tags r:id="rId8"/>
            </p:custDataLst>
          </p:nvPr>
        </p:nvSpPr>
        <p:spPr>
          <a:xfrm>
            <a:off x="4826287" y="6271947"/>
            <a:ext cx="4045000"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br>
              <a:rPr lang="en-US" sz="700" dirty="0" smtClean="0">
                <a:solidFill>
                  <a:schemeClr val="bg1"/>
                </a:solidFill>
                <a:latin typeface="Arial"/>
                <a:cs typeface="Arial"/>
              </a:rPr>
            </a:br>
            <a:r>
              <a:rPr lang="en-US" sz="700" dirty="0" smtClean="0">
                <a:solidFill>
                  <a:schemeClr val="bg1"/>
                </a:solidFill>
                <a:latin typeface="Arial"/>
                <a:cs typeface="Arial"/>
              </a:rPr>
              <a:t>© 2016 Capgemini. </a:t>
            </a:r>
            <a:r>
              <a:rPr lang="en-US" sz="700" dirty="0">
                <a:solidFill>
                  <a:schemeClr val="bg1"/>
                </a:solidFill>
                <a:latin typeface="Arial"/>
                <a:cs typeface="Arial"/>
              </a:rPr>
              <a:t>All rights </a:t>
            </a:r>
            <a:r>
              <a:rPr lang="en-US" sz="700" dirty="0" smtClean="0">
                <a:solidFill>
                  <a:schemeClr val="bg1"/>
                </a:solidFill>
                <a:latin typeface="Arial"/>
                <a:cs typeface="Arial"/>
              </a:rPr>
              <a:t>reserved.</a:t>
            </a:r>
          </a:p>
          <a:p>
            <a:pPr marL="0" marR="0" indent="0" algn="r" defTabSz="957732"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p:txBody>
      </p:sp>
      <p:sp>
        <p:nvSpPr>
          <p:cNvPr id="15" name="Rectangle 14">
            <a:hlinkClick r:id="rId19"/>
          </p:cNvPr>
          <p:cNvSpPr/>
          <p:nvPr>
            <p:custDataLst>
              <p:tags r:id="rId9"/>
            </p:custDataLst>
          </p:nvPr>
        </p:nvSpPr>
        <p:spPr>
          <a:xfrm>
            <a:off x="5948165" y="5457936"/>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0"/>
            </p:custDataLst>
          </p:nvPr>
        </p:nvPicPr>
        <p:blipFill>
          <a:blip r:embed="rId21" cstate="email"/>
          <a:srcRect/>
          <a:stretch>
            <a:fillRect/>
          </a:stretch>
        </p:blipFill>
        <p:spPr bwMode="auto">
          <a:xfrm>
            <a:off x="7055828" y="5932548"/>
            <a:ext cx="256821"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1"/>
            </p:custDataLst>
          </p:nvPr>
        </p:nvPicPr>
        <p:blipFill>
          <a:blip r:embed="rId23" cstate="email"/>
          <a:srcRect/>
          <a:stretch>
            <a:fillRect/>
          </a:stretch>
        </p:blipFill>
        <p:spPr bwMode="auto">
          <a:xfrm>
            <a:off x="7365439" y="5932547"/>
            <a:ext cx="259675"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2"/>
            </p:custDataLst>
          </p:nvPr>
        </p:nvPicPr>
        <p:blipFill>
          <a:blip r:embed="rId25" cstate="email"/>
          <a:srcRect/>
          <a:stretch>
            <a:fillRect/>
          </a:stretch>
        </p:blipFill>
        <p:spPr bwMode="auto">
          <a:xfrm>
            <a:off x="7946105" y="5932547"/>
            <a:ext cx="259675"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3"/>
            </p:custDataLst>
          </p:nvPr>
        </p:nvPicPr>
        <p:blipFill>
          <a:blip r:embed="rId27" cstate="email"/>
          <a:srcRect/>
          <a:stretch>
            <a:fillRect/>
          </a:stretch>
        </p:blipFill>
        <p:spPr bwMode="auto">
          <a:xfrm>
            <a:off x="8258569" y="5932547"/>
            <a:ext cx="259675" cy="266700"/>
          </a:xfrm>
          <a:prstGeom prst="rect">
            <a:avLst/>
          </a:prstGeom>
          <a:noFill/>
        </p:spPr>
      </p:pic>
      <p:pic>
        <p:nvPicPr>
          <p:cNvPr id="20" name="Image 22" descr="Picto_Slideshare.gif">
            <a:hlinkClick r:id="rId28"/>
          </p:cNvPr>
          <p:cNvPicPr preferRelativeResize="0">
            <a:picLocks/>
          </p:cNvPicPr>
          <p:nvPr>
            <p:custDataLst>
              <p:tags r:id="rId14"/>
            </p:custDataLst>
          </p:nvPr>
        </p:nvPicPr>
        <p:blipFill>
          <a:blip r:embed="rId29" cstate="email"/>
          <a:srcRect l="4793" t="6316" r="5718" b="7969"/>
          <a:stretch>
            <a:fillRect/>
          </a:stretch>
        </p:blipFill>
        <p:spPr>
          <a:xfrm>
            <a:off x="7677904" y="5932549"/>
            <a:ext cx="215411" cy="238125"/>
          </a:xfrm>
          <a:prstGeom prst="roundRect">
            <a:avLst/>
          </a:prstGeom>
          <a:effectLst>
            <a:outerShdw blurRad="38100" dist="25400" dir="5400000" sx="98000" sy="98000" algn="t" rotWithShape="0">
              <a:schemeClr val="tx2">
                <a:alpha val="51000"/>
              </a:schemeClr>
            </a:outerShdw>
          </a:effectLst>
        </p:spPr>
      </p:pic>
      <p:pic>
        <p:nvPicPr>
          <p:cNvPr id="21" name="Picture 104" descr="C:\Users\UserSim\Desktop\Capgemini\moto.emf"/>
          <p:cNvPicPr>
            <a:picLocks noChangeAspect="1" noChangeArrowheads="1"/>
          </p:cNvPicPr>
          <p:nvPr>
            <p:custDataLst>
              <p:tags r:id="rId15"/>
            </p:custDataLst>
          </p:nvPr>
        </p:nvPicPr>
        <p:blipFill>
          <a:blip r:embed="rId30" cstate="email"/>
          <a:srcRect/>
          <a:stretch>
            <a:fillRect/>
          </a:stretch>
        </p:blipFill>
        <p:spPr bwMode="auto">
          <a:xfrm>
            <a:off x="6163311" y="1192846"/>
            <a:ext cx="2377440" cy="205106"/>
          </a:xfrm>
          <a:prstGeom prst="rect">
            <a:avLst/>
          </a:prstGeom>
          <a:noFill/>
        </p:spPr>
      </p:pic>
      <p:pic>
        <p:nvPicPr>
          <p:cNvPr id="23" name="Picture 103" descr="C:\Users\UserSim\Desktop\Capgemini\Capgemini_logo_cmyk.png"/>
          <p:cNvPicPr>
            <a:picLocks noChangeAspect="1" noChangeArrowheads="1"/>
          </p:cNvPicPr>
          <p:nvPr>
            <p:custDataLst>
              <p:tags r:id="rId16"/>
            </p:custDataLst>
          </p:nvPr>
        </p:nvPicPr>
        <p:blipFill>
          <a:blip r:embed="rId31" cstate="email"/>
          <a:stretch>
            <a:fillRect/>
          </a:stretch>
        </p:blipFill>
        <p:spPr bwMode="auto">
          <a:xfrm>
            <a:off x="603739" y="919447"/>
            <a:ext cx="2377440" cy="55940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Lst>
  <p:timing>
    <p:tnLst>
      <p:par>
        <p:cTn id="1" dur="indefinite" restart="never" nodeType="tmRoot"/>
      </p:par>
    </p:tnLst>
  </p:timing>
  <p:txStyles>
    <p:titleStyle>
      <a:lvl1pPr algn="ctr" defTabSz="839674" rtl="0" eaLnBrk="1" latinLnBrk="0" hangingPunct="1">
        <a:spcBef>
          <a:spcPct val="0"/>
        </a:spcBef>
        <a:buNone/>
        <a:defRPr sz="4000" kern="1200">
          <a:solidFill>
            <a:schemeClr val="tx1"/>
          </a:solidFill>
          <a:latin typeface="+mj-lt"/>
          <a:ea typeface="+mj-ea"/>
          <a:cs typeface="+mj-cs"/>
        </a:defRPr>
      </a:lvl1pPr>
    </p:titleStyle>
    <p:bodyStyle>
      <a:lvl1pPr marL="314877" indent="-314877" algn="l" defTabSz="83967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34" indent="-262397" algn="l" defTabSz="83967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591" indent="-209917" algn="l" defTabSz="83967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27" indent="-209917" algn="l" defTabSz="83967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263" indent="-209917" algn="l" defTabSz="83967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00" indent="-209917" algn="l" defTabSz="83967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8936" indent="-209917" algn="l" defTabSz="83967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772" indent="-209917" algn="l" defTabSz="83967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08" indent="-209917" algn="l" defTabSz="83967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74" rtl="0" eaLnBrk="1" latinLnBrk="0" hangingPunct="1">
        <a:defRPr sz="1700" kern="1200">
          <a:solidFill>
            <a:schemeClr val="tx1"/>
          </a:solidFill>
          <a:latin typeface="+mn-lt"/>
          <a:ea typeface="+mn-ea"/>
          <a:cs typeface="+mn-cs"/>
        </a:defRPr>
      </a:lvl1pPr>
      <a:lvl2pPr marL="419836" algn="l" defTabSz="839674" rtl="0" eaLnBrk="1" latinLnBrk="0" hangingPunct="1">
        <a:defRPr sz="1700" kern="1200">
          <a:solidFill>
            <a:schemeClr val="tx1"/>
          </a:solidFill>
          <a:latin typeface="+mn-lt"/>
          <a:ea typeface="+mn-ea"/>
          <a:cs typeface="+mn-cs"/>
        </a:defRPr>
      </a:lvl2pPr>
      <a:lvl3pPr marL="839674" algn="l" defTabSz="839674" rtl="0" eaLnBrk="1" latinLnBrk="0" hangingPunct="1">
        <a:defRPr sz="1700" kern="1200">
          <a:solidFill>
            <a:schemeClr val="tx1"/>
          </a:solidFill>
          <a:latin typeface="+mn-lt"/>
          <a:ea typeface="+mn-ea"/>
          <a:cs typeface="+mn-cs"/>
        </a:defRPr>
      </a:lvl3pPr>
      <a:lvl4pPr marL="1259509" algn="l" defTabSz="839674" rtl="0" eaLnBrk="1" latinLnBrk="0" hangingPunct="1">
        <a:defRPr sz="1700" kern="1200">
          <a:solidFill>
            <a:schemeClr val="tx1"/>
          </a:solidFill>
          <a:latin typeface="+mn-lt"/>
          <a:ea typeface="+mn-ea"/>
          <a:cs typeface="+mn-cs"/>
        </a:defRPr>
      </a:lvl4pPr>
      <a:lvl5pPr marL="1679345" algn="l" defTabSz="839674" rtl="0" eaLnBrk="1" latinLnBrk="0" hangingPunct="1">
        <a:defRPr sz="1700" kern="1200">
          <a:solidFill>
            <a:schemeClr val="tx1"/>
          </a:solidFill>
          <a:latin typeface="+mn-lt"/>
          <a:ea typeface="+mn-ea"/>
          <a:cs typeface="+mn-cs"/>
        </a:defRPr>
      </a:lvl5pPr>
      <a:lvl6pPr marL="2099182" algn="l" defTabSz="839674" rtl="0" eaLnBrk="1" latinLnBrk="0" hangingPunct="1">
        <a:defRPr sz="1700" kern="1200">
          <a:solidFill>
            <a:schemeClr val="tx1"/>
          </a:solidFill>
          <a:latin typeface="+mn-lt"/>
          <a:ea typeface="+mn-ea"/>
          <a:cs typeface="+mn-cs"/>
        </a:defRPr>
      </a:lvl6pPr>
      <a:lvl7pPr marL="2519018" algn="l" defTabSz="839674" rtl="0" eaLnBrk="1" latinLnBrk="0" hangingPunct="1">
        <a:defRPr sz="1700" kern="1200">
          <a:solidFill>
            <a:schemeClr val="tx1"/>
          </a:solidFill>
          <a:latin typeface="+mn-lt"/>
          <a:ea typeface="+mn-ea"/>
          <a:cs typeface="+mn-cs"/>
        </a:defRPr>
      </a:lvl7pPr>
      <a:lvl8pPr marL="2938853" algn="l" defTabSz="839674" rtl="0" eaLnBrk="1" latinLnBrk="0" hangingPunct="1">
        <a:defRPr sz="1700" kern="1200">
          <a:solidFill>
            <a:schemeClr val="tx1"/>
          </a:solidFill>
          <a:latin typeface="+mn-lt"/>
          <a:ea typeface="+mn-ea"/>
          <a:cs typeface="+mn-cs"/>
        </a:defRPr>
      </a:lvl8pPr>
      <a:lvl9pPr marL="3358691" algn="l" defTabSz="83967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1"/>
          <a:ext cx="146539" cy="158750"/>
        </p:xfrm>
        <a:graphic>
          <a:graphicData uri="http://schemas.openxmlformats.org/presentationml/2006/ole">
            <mc:AlternateContent xmlns:mc="http://schemas.openxmlformats.org/markup-compatibility/2006">
              <mc:Choice xmlns:v="urn:schemas-microsoft-com:vml" Requires="v">
                <p:oleObj spid="_x0000_s129091"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4004" r:id="rId1"/>
  </p:sldLayoutIdLst>
  <p:txStyles>
    <p:titleStyle>
      <a:lvl1pPr algn="ctr" defTabSz="839674" rtl="0" eaLnBrk="1" latinLnBrk="0" hangingPunct="1">
        <a:spcBef>
          <a:spcPct val="0"/>
        </a:spcBef>
        <a:buNone/>
        <a:defRPr sz="4000" kern="1200">
          <a:solidFill>
            <a:schemeClr val="tx1"/>
          </a:solidFill>
          <a:latin typeface="+mj-lt"/>
          <a:ea typeface="+mj-ea"/>
          <a:cs typeface="+mj-cs"/>
        </a:defRPr>
      </a:lvl1pPr>
    </p:titleStyle>
    <p:bodyStyle>
      <a:lvl1pPr marL="314877" indent="-314877" algn="l" defTabSz="83967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34" indent="-262397" algn="l" defTabSz="83967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591" indent="-209917" algn="l" defTabSz="83967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27" indent="-209917" algn="l" defTabSz="83967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263" indent="-209917" algn="l" defTabSz="83967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00" indent="-209917" algn="l" defTabSz="83967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8936" indent="-209917" algn="l" defTabSz="83967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772" indent="-209917" algn="l" defTabSz="83967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08" indent="-209917" algn="l" defTabSz="83967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74" rtl="0" eaLnBrk="1" latinLnBrk="0" hangingPunct="1">
        <a:defRPr sz="1700" kern="1200">
          <a:solidFill>
            <a:schemeClr val="tx1"/>
          </a:solidFill>
          <a:latin typeface="+mn-lt"/>
          <a:ea typeface="+mn-ea"/>
          <a:cs typeface="+mn-cs"/>
        </a:defRPr>
      </a:lvl1pPr>
      <a:lvl2pPr marL="419836" algn="l" defTabSz="839674" rtl="0" eaLnBrk="1" latinLnBrk="0" hangingPunct="1">
        <a:defRPr sz="1700" kern="1200">
          <a:solidFill>
            <a:schemeClr val="tx1"/>
          </a:solidFill>
          <a:latin typeface="+mn-lt"/>
          <a:ea typeface="+mn-ea"/>
          <a:cs typeface="+mn-cs"/>
        </a:defRPr>
      </a:lvl2pPr>
      <a:lvl3pPr marL="839674" algn="l" defTabSz="839674" rtl="0" eaLnBrk="1" latinLnBrk="0" hangingPunct="1">
        <a:defRPr sz="1700" kern="1200">
          <a:solidFill>
            <a:schemeClr val="tx1"/>
          </a:solidFill>
          <a:latin typeface="+mn-lt"/>
          <a:ea typeface="+mn-ea"/>
          <a:cs typeface="+mn-cs"/>
        </a:defRPr>
      </a:lvl3pPr>
      <a:lvl4pPr marL="1259509" algn="l" defTabSz="839674" rtl="0" eaLnBrk="1" latinLnBrk="0" hangingPunct="1">
        <a:defRPr sz="1700" kern="1200">
          <a:solidFill>
            <a:schemeClr val="tx1"/>
          </a:solidFill>
          <a:latin typeface="+mn-lt"/>
          <a:ea typeface="+mn-ea"/>
          <a:cs typeface="+mn-cs"/>
        </a:defRPr>
      </a:lvl4pPr>
      <a:lvl5pPr marL="1679345" algn="l" defTabSz="839674" rtl="0" eaLnBrk="1" latinLnBrk="0" hangingPunct="1">
        <a:defRPr sz="1700" kern="1200">
          <a:solidFill>
            <a:schemeClr val="tx1"/>
          </a:solidFill>
          <a:latin typeface="+mn-lt"/>
          <a:ea typeface="+mn-ea"/>
          <a:cs typeface="+mn-cs"/>
        </a:defRPr>
      </a:lvl5pPr>
      <a:lvl6pPr marL="2099182" algn="l" defTabSz="839674" rtl="0" eaLnBrk="1" latinLnBrk="0" hangingPunct="1">
        <a:defRPr sz="1700" kern="1200">
          <a:solidFill>
            <a:schemeClr val="tx1"/>
          </a:solidFill>
          <a:latin typeface="+mn-lt"/>
          <a:ea typeface="+mn-ea"/>
          <a:cs typeface="+mn-cs"/>
        </a:defRPr>
      </a:lvl6pPr>
      <a:lvl7pPr marL="2519018" algn="l" defTabSz="839674" rtl="0" eaLnBrk="1" latinLnBrk="0" hangingPunct="1">
        <a:defRPr sz="1700" kern="1200">
          <a:solidFill>
            <a:schemeClr val="tx1"/>
          </a:solidFill>
          <a:latin typeface="+mn-lt"/>
          <a:ea typeface="+mn-ea"/>
          <a:cs typeface="+mn-cs"/>
        </a:defRPr>
      </a:lvl7pPr>
      <a:lvl8pPr marL="2938853" algn="l" defTabSz="839674" rtl="0" eaLnBrk="1" latinLnBrk="0" hangingPunct="1">
        <a:defRPr sz="1700" kern="1200">
          <a:solidFill>
            <a:schemeClr val="tx1"/>
          </a:solidFill>
          <a:latin typeface="+mn-lt"/>
          <a:ea typeface="+mn-ea"/>
          <a:cs typeface="+mn-cs"/>
        </a:defRPr>
      </a:lvl8pPr>
      <a:lvl9pPr marL="3358691" algn="l" defTabSz="83967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chitecture</a:t>
            </a:r>
            <a:endParaRPr lang="en-US" dirty="0"/>
          </a:p>
        </p:txBody>
      </p:sp>
      <p:grpSp>
        <p:nvGrpSpPr>
          <p:cNvPr id="3" name="Group 2"/>
          <p:cNvGrpSpPr/>
          <p:nvPr/>
        </p:nvGrpSpPr>
        <p:grpSpPr>
          <a:xfrm>
            <a:off x="1289865" y="2717496"/>
            <a:ext cx="5942209" cy="1852551"/>
            <a:chOff x="1289865" y="2717496"/>
            <a:chExt cx="5942209" cy="1852551"/>
          </a:xfrm>
        </p:grpSpPr>
        <p:sp>
          <p:nvSpPr>
            <p:cNvPr id="59" name="Rounded Rectangle 58"/>
            <p:cNvSpPr/>
            <p:nvPr/>
          </p:nvSpPr>
          <p:spPr bwMode="auto">
            <a:xfrm>
              <a:off x="1289865" y="2717496"/>
              <a:ext cx="5942209" cy="1852551"/>
            </a:xfrm>
            <a:prstGeom prst="round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t"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600" b="1" i="0" u="none" strike="noStrike" cap="none" normalizeH="0" baseline="0" dirty="0" smtClean="0">
                  <a:ln>
                    <a:noFill/>
                  </a:ln>
                  <a:solidFill>
                    <a:schemeClr val="bg2">
                      <a:lumMod val="50000"/>
                    </a:schemeClr>
                  </a:solidFill>
                  <a:effectLst/>
                  <a:latin typeface="+mn-lt"/>
                  <a:cs typeface="Arial" charset="0"/>
                </a:rPr>
                <a:t>Shows</a:t>
              </a:r>
              <a:endParaRPr kumimoji="0" lang="en-US" sz="1600" b="1" i="0" u="none" strike="noStrike" cap="none" normalizeH="0" baseline="0" dirty="0" smtClean="0">
                <a:ln>
                  <a:noFill/>
                </a:ln>
                <a:solidFill>
                  <a:schemeClr val="bg2">
                    <a:lumMod val="50000"/>
                  </a:schemeClr>
                </a:solidFill>
                <a:effectLst/>
                <a:latin typeface="+mn-lt"/>
                <a:cs typeface="Arial" charset="0"/>
              </a:endParaRPr>
            </a:p>
          </p:txBody>
        </p:sp>
        <p:sp>
          <p:nvSpPr>
            <p:cNvPr id="57" name="Rectangle 56"/>
            <p:cNvSpPr/>
            <p:nvPr/>
          </p:nvSpPr>
          <p:spPr bwMode="auto">
            <a:xfrm>
              <a:off x="1367064" y="3079812"/>
              <a:ext cx="3454319" cy="1310998"/>
            </a:xfrm>
            <a:prstGeom prst="rect">
              <a:avLst/>
            </a:prstGeom>
            <a:noFill/>
            <a:ln w="6350" cap="flat" cmpd="sng" algn="ctr">
              <a:solidFill>
                <a:schemeClr val="tx2">
                  <a:lumMod val="50000"/>
                </a:schemeClr>
              </a:solidFill>
              <a:prstDash val="lg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bg2">
                    <a:lumMod val="50000"/>
                  </a:schemeClr>
                </a:solidFill>
                <a:effectLst/>
                <a:latin typeface="+mn-lt"/>
                <a:cs typeface="Arial" charset="0"/>
              </a:endParaRPr>
            </a:p>
          </p:txBody>
        </p:sp>
        <p:sp>
          <p:nvSpPr>
            <p:cNvPr id="4" name="Rounded Rectangle 3"/>
            <p:cNvSpPr/>
            <p:nvPr/>
          </p:nvSpPr>
          <p:spPr bwMode="auto">
            <a:xfrm>
              <a:off x="1438389" y="3402639"/>
              <a:ext cx="1352313" cy="890877"/>
            </a:xfrm>
            <a:prstGeom prst="roundRect">
              <a:avLst/>
            </a:prstGeom>
            <a:solidFill>
              <a:schemeClr val="accent5"/>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1400" b="1" dirty="0" smtClean="0">
                  <a:solidFill>
                    <a:schemeClr val="bg1"/>
                  </a:solidFill>
                  <a:cs typeface="Arial" charset="0"/>
                </a:rPr>
                <a:t>UI</a:t>
              </a:r>
            </a:p>
            <a:p>
              <a:pPr marL="0" marR="0" indent="0" algn="ctr" defTabSz="914400" rtl="0" eaLnBrk="0" fontAlgn="base" latinLnBrk="0" hangingPunct="0">
                <a:lnSpc>
                  <a:spcPct val="85000"/>
                </a:lnSpc>
                <a:spcBef>
                  <a:spcPct val="0"/>
                </a:spcBef>
                <a:spcAft>
                  <a:spcPct val="0"/>
                </a:spcAft>
                <a:buClrTx/>
                <a:buSzTx/>
                <a:buFontTx/>
                <a:buNone/>
                <a:tabLst/>
              </a:pPr>
              <a:r>
                <a:rPr kumimoji="0" lang="en-US" sz="1050" b="1" i="1" u="none" strike="noStrike" cap="none" normalizeH="0" baseline="0" dirty="0" err="1" smtClean="0">
                  <a:ln>
                    <a:noFill/>
                  </a:ln>
                  <a:solidFill>
                    <a:srgbClr val="FFFF00"/>
                  </a:solidFill>
                  <a:effectLst/>
                  <a:cs typeface="Arial" charset="0"/>
                </a:rPr>
                <a:t>ThymeLeaf</a:t>
              </a:r>
              <a:endParaRPr kumimoji="0" lang="en-US" sz="1050" b="1" i="1" u="none" strike="noStrike" cap="none" normalizeH="0" baseline="0" dirty="0" smtClean="0">
                <a:ln>
                  <a:noFill/>
                </a:ln>
                <a:solidFill>
                  <a:srgbClr val="FFFF00"/>
                </a:solidFill>
                <a:effectLst/>
                <a:cs typeface="Arial" charset="0"/>
              </a:endParaRPr>
            </a:p>
            <a:p>
              <a:pPr marL="0" marR="0" indent="0" algn="ctr" defTabSz="914400" rtl="0" eaLnBrk="0" fontAlgn="base" latinLnBrk="0" hangingPunct="0">
                <a:lnSpc>
                  <a:spcPct val="85000"/>
                </a:lnSpc>
                <a:spcBef>
                  <a:spcPct val="0"/>
                </a:spcBef>
                <a:spcAft>
                  <a:spcPct val="0"/>
                </a:spcAft>
                <a:buClrTx/>
                <a:buSzTx/>
                <a:buFontTx/>
                <a:buNone/>
                <a:tabLst/>
              </a:pPr>
              <a:r>
                <a:rPr lang="en-US" sz="1050" b="1" i="1" dirty="0" smtClean="0">
                  <a:solidFill>
                    <a:srgbClr val="FFFF00"/>
                  </a:solidFill>
                  <a:cs typeface="Arial" charset="0"/>
                </a:rPr>
                <a:t>Bootstrap</a:t>
              </a:r>
            </a:p>
            <a:p>
              <a:pPr marL="0" marR="0" indent="0" algn="ctr" defTabSz="914400" rtl="0" eaLnBrk="0" fontAlgn="base" latinLnBrk="0" hangingPunct="0">
                <a:lnSpc>
                  <a:spcPct val="85000"/>
                </a:lnSpc>
                <a:spcBef>
                  <a:spcPct val="0"/>
                </a:spcBef>
                <a:spcAft>
                  <a:spcPct val="0"/>
                </a:spcAft>
                <a:buClrTx/>
                <a:buSzTx/>
                <a:buFontTx/>
                <a:buNone/>
                <a:tabLst/>
              </a:pPr>
              <a:r>
                <a:rPr kumimoji="0" lang="en-US" sz="1050" b="1" i="1" u="none" strike="noStrike" cap="none" normalizeH="0" baseline="0" dirty="0" smtClean="0">
                  <a:ln>
                    <a:noFill/>
                  </a:ln>
                  <a:solidFill>
                    <a:srgbClr val="FFFF00"/>
                  </a:solidFill>
                  <a:effectLst/>
                  <a:cs typeface="Arial" charset="0"/>
                </a:rPr>
                <a:t>MVC</a:t>
              </a:r>
            </a:p>
            <a:p>
              <a:pPr marL="0" marR="0" indent="0" algn="ctr" defTabSz="914400" rtl="0" eaLnBrk="0" fontAlgn="base" latinLnBrk="0" hangingPunct="0">
                <a:lnSpc>
                  <a:spcPct val="85000"/>
                </a:lnSpc>
                <a:spcBef>
                  <a:spcPct val="0"/>
                </a:spcBef>
                <a:spcAft>
                  <a:spcPct val="0"/>
                </a:spcAft>
                <a:buClrTx/>
                <a:buSzTx/>
                <a:buFontTx/>
                <a:buNone/>
                <a:tabLst/>
              </a:pPr>
              <a:r>
                <a:rPr lang="en-US" sz="1050" b="1" i="1" dirty="0" smtClean="0">
                  <a:solidFill>
                    <a:srgbClr val="FFFF00"/>
                  </a:solidFill>
                  <a:cs typeface="Arial" charset="0"/>
                </a:rPr>
                <a:t>Cloud Connector</a:t>
              </a:r>
              <a:endParaRPr kumimoji="0" lang="en-US" sz="1050" b="1" i="1" u="none" strike="noStrike" cap="none" normalizeH="0" baseline="0" dirty="0" smtClean="0">
                <a:ln>
                  <a:noFill/>
                </a:ln>
                <a:solidFill>
                  <a:srgbClr val="FFFF00"/>
                </a:solidFill>
                <a:effectLst/>
                <a:cs typeface="Arial" charset="0"/>
              </a:endParaRPr>
            </a:p>
          </p:txBody>
        </p:sp>
        <p:sp>
          <p:nvSpPr>
            <p:cNvPr id="31" name="Rounded Rectangle 30"/>
            <p:cNvSpPr/>
            <p:nvPr/>
          </p:nvSpPr>
          <p:spPr bwMode="auto">
            <a:xfrm>
              <a:off x="2862027" y="3402639"/>
              <a:ext cx="943031" cy="890878"/>
            </a:xfrm>
            <a:prstGeom prst="roundRect">
              <a:avLst/>
            </a:prstGeom>
            <a:solidFill>
              <a:schemeClr val="accent5"/>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1400" b="1" dirty="0" smtClean="0">
                  <a:solidFill>
                    <a:schemeClr val="bg1"/>
                  </a:solidFill>
                  <a:cs typeface="Arial" charset="0"/>
                </a:rPr>
                <a:t>Model</a:t>
              </a:r>
              <a:endParaRPr kumimoji="0" lang="en-US" sz="1400" b="1" i="0" u="none" strike="noStrike" cap="none" normalizeH="0" baseline="0" dirty="0" smtClean="0">
                <a:ln>
                  <a:noFill/>
                </a:ln>
                <a:solidFill>
                  <a:schemeClr val="bg1"/>
                </a:solidFill>
                <a:effectLst/>
                <a:cs typeface="Arial" charset="0"/>
              </a:endParaRPr>
            </a:p>
          </p:txBody>
        </p:sp>
        <p:sp>
          <p:nvSpPr>
            <p:cNvPr id="33" name="Rounded Rectangle 32"/>
            <p:cNvSpPr/>
            <p:nvPr/>
          </p:nvSpPr>
          <p:spPr bwMode="auto">
            <a:xfrm>
              <a:off x="3876383" y="3402639"/>
              <a:ext cx="845514" cy="922579"/>
            </a:xfrm>
            <a:prstGeom prst="roundRect">
              <a:avLst/>
            </a:prstGeom>
            <a:solidFill>
              <a:schemeClr val="accent5"/>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1400" b="1" dirty="0" smtClean="0">
                  <a:solidFill>
                    <a:schemeClr val="bg1"/>
                  </a:solidFill>
                  <a:cs typeface="Arial" charset="0"/>
                </a:rPr>
                <a:t>Service</a:t>
              </a:r>
            </a:p>
            <a:p>
              <a:pPr marL="0" marR="0" indent="0" algn="ctr" defTabSz="914400" rtl="0" eaLnBrk="0" fontAlgn="base" latinLnBrk="0" hangingPunct="0">
                <a:lnSpc>
                  <a:spcPct val="85000"/>
                </a:lnSpc>
                <a:spcBef>
                  <a:spcPct val="0"/>
                </a:spcBef>
                <a:spcAft>
                  <a:spcPct val="0"/>
                </a:spcAft>
                <a:buClrTx/>
                <a:buSzTx/>
                <a:buFontTx/>
                <a:buNone/>
                <a:tabLst/>
              </a:pPr>
              <a:r>
                <a:rPr kumimoji="0" lang="en-US" sz="1100" b="1" i="1" u="none" strike="noStrike" cap="none" normalizeH="0" baseline="0" dirty="0" smtClean="0">
                  <a:ln>
                    <a:noFill/>
                  </a:ln>
                  <a:solidFill>
                    <a:srgbClr val="FFFF00"/>
                  </a:solidFill>
                  <a:effectLst/>
                  <a:cs typeface="Arial" charset="0"/>
                </a:rPr>
                <a:t>Feign</a:t>
              </a:r>
              <a:endParaRPr kumimoji="0" lang="en-US" sz="1100" b="1" i="1" u="none" strike="noStrike" cap="none" normalizeH="0" baseline="0" dirty="0" smtClean="0">
                <a:ln>
                  <a:noFill/>
                </a:ln>
                <a:solidFill>
                  <a:srgbClr val="FFFF00"/>
                </a:solidFill>
                <a:effectLst/>
                <a:cs typeface="Arial" charset="0"/>
              </a:endParaRPr>
            </a:p>
          </p:txBody>
        </p:sp>
        <p:sp>
          <p:nvSpPr>
            <p:cNvPr id="36" name="Right Arrow 35"/>
            <p:cNvSpPr/>
            <p:nvPr/>
          </p:nvSpPr>
          <p:spPr bwMode="auto">
            <a:xfrm>
              <a:off x="4821383" y="3586980"/>
              <a:ext cx="581409" cy="296662"/>
            </a:xfrm>
            <a:prstGeom prst="rightArrow">
              <a:avLst/>
            </a:prstGeom>
            <a:solidFill>
              <a:schemeClr val="accent5"/>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1400" dirty="0">
                <a:solidFill>
                  <a:schemeClr val="bg1"/>
                </a:solidFill>
                <a:cs typeface="Arial" charset="0"/>
              </a:endParaRPr>
            </a:p>
          </p:txBody>
        </p:sp>
        <p:sp>
          <p:nvSpPr>
            <p:cNvPr id="39" name="TextBox 38"/>
            <p:cNvSpPr txBox="1"/>
            <p:nvPr/>
          </p:nvSpPr>
          <p:spPr>
            <a:xfrm>
              <a:off x="2862027" y="3113950"/>
              <a:ext cx="575799" cy="276999"/>
            </a:xfrm>
            <a:prstGeom prst="rect">
              <a:avLst/>
            </a:prstGeom>
            <a:noFill/>
          </p:spPr>
          <p:txBody>
            <a:bodyPr wrap="none" rtlCol="0">
              <a:spAutoFit/>
            </a:bodyPr>
            <a:lstStyle/>
            <a:p>
              <a:r>
                <a:rPr lang="en-US" sz="1200" dirty="0" smtClean="0">
                  <a:solidFill>
                    <a:schemeClr val="tx2">
                      <a:lumMod val="50000"/>
                    </a:schemeClr>
                  </a:solidFill>
                </a:rPr>
                <a:t>Client</a:t>
              </a:r>
              <a:endParaRPr lang="en-US" sz="1200" dirty="0" smtClean="0">
                <a:solidFill>
                  <a:schemeClr val="tx2">
                    <a:lumMod val="50000"/>
                  </a:schemeClr>
                </a:solidFill>
              </a:endParaRPr>
            </a:p>
          </p:txBody>
        </p:sp>
        <p:sp>
          <p:nvSpPr>
            <p:cNvPr id="40" name="Rectangle 39"/>
            <p:cNvSpPr/>
            <p:nvPr/>
          </p:nvSpPr>
          <p:spPr bwMode="auto">
            <a:xfrm>
              <a:off x="5402792" y="3113950"/>
              <a:ext cx="1663027" cy="1310998"/>
            </a:xfrm>
            <a:prstGeom prst="rect">
              <a:avLst/>
            </a:prstGeom>
            <a:noFill/>
            <a:ln w="6350" cap="flat" cmpd="sng" algn="ctr">
              <a:solidFill>
                <a:schemeClr val="tx2">
                  <a:lumMod val="50000"/>
                </a:schemeClr>
              </a:solidFill>
              <a:prstDash val="lg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bg2">
                    <a:lumMod val="50000"/>
                  </a:schemeClr>
                </a:solidFill>
                <a:effectLst/>
                <a:latin typeface="+mn-lt"/>
                <a:cs typeface="Arial" charset="0"/>
              </a:endParaRPr>
            </a:p>
          </p:txBody>
        </p:sp>
        <p:sp>
          <p:nvSpPr>
            <p:cNvPr id="45" name="TextBox 44"/>
            <p:cNvSpPr txBox="1"/>
            <p:nvPr/>
          </p:nvSpPr>
          <p:spPr>
            <a:xfrm>
              <a:off x="5711565" y="3079812"/>
              <a:ext cx="1045479" cy="276999"/>
            </a:xfrm>
            <a:prstGeom prst="rect">
              <a:avLst/>
            </a:prstGeom>
            <a:noFill/>
          </p:spPr>
          <p:txBody>
            <a:bodyPr wrap="none" rtlCol="0">
              <a:spAutoFit/>
            </a:bodyPr>
            <a:lstStyle/>
            <a:p>
              <a:r>
                <a:rPr lang="en-US" sz="1200" dirty="0" err="1" smtClean="0">
                  <a:solidFill>
                    <a:schemeClr val="tx2">
                      <a:lumMod val="50000"/>
                    </a:schemeClr>
                  </a:solidFill>
                </a:rPr>
                <a:t>Microservice</a:t>
              </a:r>
              <a:endParaRPr lang="en-US" sz="1200" dirty="0" smtClean="0">
                <a:solidFill>
                  <a:schemeClr val="tx2">
                    <a:lumMod val="50000"/>
                  </a:schemeClr>
                </a:solidFill>
              </a:endParaRPr>
            </a:p>
          </p:txBody>
        </p:sp>
        <p:sp>
          <p:nvSpPr>
            <p:cNvPr id="58" name="Rounded Rectangle 57"/>
            <p:cNvSpPr/>
            <p:nvPr/>
          </p:nvSpPr>
          <p:spPr bwMode="auto">
            <a:xfrm>
              <a:off x="5634368" y="3390949"/>
              <a:ext cx="1199875" cy="890878"/>
            </a:xfrm>
            <a:prstGeom prst="roundRect">
              <a:avLst/>
            </a:prstGeom>
            <a:solidFill>
              <a:schemeClr val="accent5"/>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1400" b="1" dirty="0" smtClean="0">
                  <a:solidFill>
                    <a:schemeClr val="bg1"/>
                  </a:solidFill>
                  <a:cs typeface="Arial" charset="0"/>
                </a:rPr>
                <a:t>Shows</a:t>
              </a:r>
            </a:p>
            <a:p>
              <a:pPr marL="0" marR="0" indent="0" algn="ctr" defTabSz="914400" rtl="0" eaLnBrk="0" fontAlgn="base" latinLnBrk="0" hangingPunct="0">
                <a:lnSpc>
                  <a:spcPct val="85000"/>
                </a:lnSpc>
                <a:spcBef>
                  <a:spcPct val="0"/>
                </a:spcBef>
                <a:spcAft>
                  <a:spcPct val="0"/>
                </a:spcAft>
                <a:buClrTx/>
                <a:buSzTx/>
                <a:buFontTx/>
                <a:buNone/>
                <a:tabLst/>
              </a:pPr>
              <a:r>
                <a:rPr kumimoji="0" lang="en-US" sz="1050" b="1" i="1" u="none" strike="noStrike" cap="none" normalizeH="0" baseline="0" dirty="0" smtClean="0">
                  <a:ln>
                    <a:noFill/>
                  </a:ln>
                  <a:solidFill>
                    <a:srgbClr val="FFFF00"/>
                  </a:solidFill>
                  <a:effectLst/>
                  <a:cs typeface="Arial" charset="0"/>
                </a:rPr>
                <a:t>Spring Boot</a:t>
              </a:r>
            </a:p>
            <a:p>
              <a:pPr marL="0" marR="0" indent="0" algn="ctr" defTabSz="914400" rtl="0" eaLnBrk="0" fontAlgn="base" latinLnBrk="0" hangingPunct="0">
                <a:lnSpc>
                  <a:spcPct val="85000"/>
                </a:lnSpc>
                <a:spcBef>
                  <a:spcPct val="0"/>
                </a:spcBef>
                <a:spcAft>
                  <a:spcPct val="0"/>
                </a:spcAft>
                <a:buClrTx/>
                <a:buSzTx/>
                <a:buFontTx/>
                <a:buNone/>
                <a:tabLst/>
              </a:pPr>
              <a:r>
                <a:rPr lang="en-US" sz="1050" b="1" i="1" dirty="0" smtClean="0">
                  <a:solidFill>
                    <a:srgbClr val="FFFF00"/>
                  </a:solidFill>
                  <a:cs typeface="Arial" charset="0"/>
                </a:rPr>
                <a:t>Spring Data</a:t>
              </a:r>
            </a:p>
            <a:p>
              <a:pPr marL="0" marR="0" indent="0" algn="ctr" defTabSz="914400" rtl="0" eaLnBrk="0" fontAlgn="base" latinLnBrk="0" hangingPunct="0">
                <a:lnSpc>
                  <a:spcPct val="85000"/>
                </a:lnSpc>
                <a:spcBef>
                  <a:spcPct val="0"/>
                </a:spcBef>
                <a:spcAft>
                  <a:spcPct val="0"/>
                </a:spcAft>
                <a:buClrTx/>
                <a:buSzTx/>
                <a:buFontTx/>
                <a:buNone/>
                <a:tabLst/>
              </a:pPr>
              <a:r>
                <a:rPr kumimoji="0" lang="en-US" sz="1050" b="1" i="1" u="none" strike="noStrike" cap="none" normalizeH="0" baseline="0" dirty="0" smtClean="0">
                  <a:ln>
                    <a:noFill/>
                  </a:ln>
                  <a:solidFill>
                    <a:srgbClr val="FFFF00"/>
                  </a:solidFill>
                  <a:effectLst/>
                  <a:cs typeface="Arial" charset="0"/>
                </a:rPr>
                <a:t>Cloud Connector</a:t>
              </a:r>
              <a:endParaRPr kumimoji="0" lang="en-US" sz="1050" b="1" i="1" u="none" strike="noStrike" cap="none" normalizeH="0" baseline="0" dirty="0" smtClean="0">
                <a:ln>
                  <a:noFill/>
                </a:ln>
                <a:solidFill>
                  <a:srgbClr val="FFFF00"/>
                </a:solidFill>
                <a:effectLst/>
                <a:cs typeface="Arial" charset="0"/>
              </a:endParaRPr>
            </a:p>
          </p:txBody>
        </p:sp>
      </p:grpSp>
    </p:spTree>
    <p:extLst>
      <p:ext uri="{BB962C8B-B14F-4D97-AF65-F5344CB8AC3E}">
        <p14:creationId xmlns:p14="http://schemas.microsoft.com/office/powerpoint/2010/main" val="18176902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Business_Cloud 2016 (Webinar)">
  <a:themeElements>
    <a:clrScheme name="Capgemini">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tx2">
              <a:lumMod val="50000"/>
            </a:schemeClr>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solidFill>
              <a:schemeClr val="bg2">
                <a:lumMod val="50000"/>
              </a:schemeClr>
            </a:solidFill>
            <a:effectLst/>
            <a:latin typeface="+mn-lt"/>
            <a:cs typeface="Arial" charset="0"/>
          </a:defRPr>
        </a:defPPr>
      </a:lstStyle>
    </a:spDef>
    <a:lnDef>
      <a:spPr bwMode="auto">
        <a:solidFill>
          <a:schemeClr val="tx2"/>
        </a:solidFill>
        <a:ln w="6350" cap="flat" cmpd="sng" algn="ctr">
          <a:solidFill>
            <a:schemeClr val="accent3"/>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Business Cloud 2016 (Webinar)_Closing Slides">
  <a:themeElements>
    <a:clrScheme name="Capgemini">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usiness Cloud 2016 (Webinar)_Section break">
  <a:themeElements>
    <a:clrScheme name="Capgemini">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usiness_Cloud 2016 (Webinar)</Template>
  <TotalTime>1203</TotalTime>
  <Words>20</Words>
  <Application>Microsoft Office PowerPoint</Application>
  <PresentationFormat>On-screen Show (4:3)</PresentationFormat>
  <Paragraphs>16</Paragraphs>
  <Slides>1</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Courier New</vt:lpstr>
      <vt:lpstr>Helvetica Light</vt:lpstr>
      <vt:lpstr>Wingdings</vt:lpstr>
      <vt:lpstr>Business_Cloud 2016 (Webinar)</vt:lpstr>
      <vt:lpstr>Business Cloud 2016 (Webinar)_Closing Slides</vt:lpstr>
      <vt:lpstr>Business Cloud 2016 (Webinar)_Section break</vt:lpstr>
      <vt:lpstr>think-cell Slide</vt:lpstr>
      <vt:lpstr>Architecture</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Max. two lines</dc:title>
  <dc:creator>tbanerje</dc:creator>
  <cp:lastModifiedBy>Goga, Murtaza</cp:lastModifiedBy>
  <cp:revision>180</cp:revision>
  <dcterms:created xsi:type="dcterms:W3CDTF">2016-01-28T08:15:38Z</dcterms:created>
  <dcterms:modified xsi:type="dcterms:W3CDTF">2016-07-06T20:23:00Z</dcterms:modified>
</cp:coreProperties>
</file>